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2.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3.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notesSlides/notesSlide4.xml" ContentType="application/vnd.openxmlformats-officedocument.presentationml.notesSlide+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ppt/diagrams/data48.xml" ContentType="application/vnd.openxmlformats-officedocument.drawingml.diagramData+xml"/>
  <Override PartName="/ppt/diagrams/layout48.xml" ContentType="application/vnd.openxmlformats-officedocument.drawingml.diagramLayout+xml"/>
  <Override PartName="/ppt/diagrams/quickStyle48.xml" ContentType="application/vnd.openxmlformats-officedocument.drawingml.diagramStyle+xml"/>
  <Override PartName="/ppt/diagrams/colors48.xml" ContentType="application/vnd.openxmlformats-officedocument.drawingml.diagramColors+xml"/>
  <Override PartName="/ppt/diagrams/drawing48.xml" ContentType="application/vnd.ms-office.drawingml.diagramDrawing+xml"/>
  <Override PartName="/ppt/diagrams/data49.xml" ContentType="application/vnd.openxmlformats-officedocument.drawingml.diagramData+xml"/>
  <Override PartName="/ppt/diagrams/layout49.xml" ContentType="application/vnd.openxmlformats-officedocument.drawingml.diagramLayout+xml"/>
  <Override PartName="/ppt/diagrams/quickStyle49.xml" ContentType="application/vnd.openxmlformats-officedocument.drawingml.diagramStyle+xml"/>
  <Override PartName="/ppt/diagrams/colors49.xml" ContentType="application/vnd.openxmlformats-officedocument.drawingml.diagramColors+xml"/>
  <Override PartName="/ppt/diagrams/drawing49.xml" ContentType="application/vnd.ms-office.drawingml.diagramDrawing+xml"/>
  <Override PartName="/ppt/diagrams/data50.xml" ContentType="application/vnd.openxmlformats-officedocument.drawingml.diagramData+xml"/>
  <Override PartName="/ppt/diagrams/layout50.xml" ContentType="application/vnd.openxmlformats-officedocument.drawingml.diagramLayout+xml"/>
  <Override PartName="/ppt/diagrams/quickStyle50.xml" ContentType="application/vnd.openxmlformats-officedocument.drawingml.diagramStyle+xml"/>
  <Override PartName="/ppt/diagrams/colors50.xml" ContentType="application/vnd.openxmlformats-officedocument.drawingml.diagramColors+xml"/>
  <Override PartName="/ppt/diagrams/drawing50.xml" ContentType="application/vnd.ms-office.drawingml.diagramDrawing+xml"/>
  <Override PartName="/ppt/diagrams/data51.xml" ContentType="application/vnd.openxmlformats-officedocument.drawingml.diagramData+xml"/>
  <Override PartName="/ppt/diagrams/layout51.xml" ContentType="application/vnd.openxmlformats-officedocument.drawingml.diagramLayout+xml"/>
  <Override PartName="/ppt/diagrams/quickStyle51.xml" ContentType="application/vnd.openxmlformats-officedocument.drawingml.diagramStyle+xml"/>
  <Override PartName="/ppt/diagrams/colors51.xml" ContentType="application/vnd.openxmlformats-officedocument.drawingml.diagramColors+xml"/>
  <Override PartName="/ppt/diagrams/drawing51.xml" ContentType="application/vnd.ms-office.drawingml.diagramDrawing+xml"/>
  <Override PartName="/ppt/diagrams/data52.xml" ContentType="application/vnd.openxmlformats-officedocument.drawingml.diagramData+xml"/>
  <Override PartName="/ppt/diagrams/layout52.xml" ContentType="application/vnd.openxmlformats-officedocument.drawingml.diagramLayout+xml"/>
  <Override PartName="/ppt/diagrams/quickStyle52.xml" ContentType="application/vnd.openxmlformats-officedocument.drawingml.diagramStyle+xml"/>
  <Override PartName="/ppt/diagrams/colors52.xml" ContentType="application/vnd.openxmlformats-officedocument.drawingml.diagramColors+xml"/>
  <Override PartName="/ppt/diagrams/drawing52.xml" ContentType="application/vnd.ms-office.drawingml.diagramDrawing+xml"/>
  <Override PartName="/ppt/diagrams/data53.xml" ContentType="application/vnd.openxmlformats-officedocument.drawingml.diagramData+xml"/>
  <Override PartName="/ppt/diagrams/layout53.xml" ContentType="application/vnd.openxmlformats-officedocument.drawingml.diagramLayout+xml"/>
  <Override PartName="/ppt/diagrams/quickStyle53.xml" ContentType="application/vnd.openxmlformats-officedocument.drawingml.diagramStyle+xml"/>
  <Override PartName="/ppt/diagrams/colors53.xml" ContentType="application/vnd.openxmlformats-officedocument.drawingml.diagramColors+xml"/>
  <Override PartName="/ppt/diagrams/drawing53.xml" ContentType="application/vnd.ms-office.drawingml.diagramDrawing+xml"/>
  <Override PartName="/ppt/diagrams/data54.xml" ContentType="application/vnd.openxmlformats-officedocument.drawingml.diagramData+xml"/>
  <Override PartName="/ppt/diagrams/layout54.xml" ContentType="application/vnd.openxmlformats-officedocument.drawingml.diagramLayout+xml"/>
  <Override PartName="/ppt/diagrams/quickStyle54.xml" ContentType="application/vnd.openxmlformats-officedocument.drawingml.diagramStyle+xml"/>
  <Override PartName="/ppt/diagrams/colors54.xml" ContentType="application/vnd.openxmlformats-officedocument.drawingml.diagramColors+xml"/>
  <Override PartName="/ppt/diagrams/drawing54.xml" ContentType="application/vnd.ms-office.drawingml.diagramDrawing+xml"/>
  <Override PartName="/ppt/diagrams/data55.xml" ContentType="application/vnd.openxmlformats-officedocument.drawingml.diagramData+xml"/>
  <Override PartName="/ppt/diagrams/layout55.xml" ContentType="application/vnd.openxmlformats-officedocument.drawingml.diagramLayout+xml"/>
  <Override PartName="/ppt/diagrams/quickStyle55.xml" ContentType="application/vnd.openxmlformats-officedocument.drawingml.diagramStyle+xml"/>
  <Override PartName="/ppt/diagrams/colors55.xml" ContentType="application/vnd.openxmlformats-officedocument.drawingml.diagramColors+xml"/>
  <Override PartName="/ppt/diagrams/drawing55.xml" ContentType="application/vnd.ms-office.drawingml.diagramDrawing+xml"/>
  <Override PartName="/ppt/diagrams/data56.xml" ContentType="application/vnd.openxmlformats-officedocument.drawingml.diagramData+xml"/>
  <Override PartName="/ppt/diagrams/layout56.xml" ContentType="application/vnd.openxmlformats-officedocument.drawingml.diagramLayout+xml"/>
  <Override PartName="/ppt/diagrams/quickStyle56.xml" ContentType="application/vnd.openxmlformats-officedocument.drawingml.diagramStyle+xml"/>
  <Override PartName="/ppt/diagrams/colors56.xml" ContentType="application/vnd.openxmlformats-officedocument.drawingml.diagramColors+xml"/>
  <Override PartName="/ppt/diagrams/drawing56.xml" ContentType="application/vnd.ms-office.drawingml.diagramDrawing+xml"/>
  <Override PartName="/ppt/diagrams/data57.xml" ContentType="application/vnd.openxmlformats-officedocument.drawingml.diagramData+xml"/>
  <Override PartName="/ppt/diagrams/layout57.xml" ContentType="application/vnd.openxmlformats-officedocument.drawingml.diagramLayout+xml"/>
  <Override PartName="/ppt/diagrams/quickStyle57.xml" ContentType="application/vnd.openxmlformats-officedocument.drawingml.diagramStyle+xml"/>
  <Override PartName="/ppt/diagrams/colors57.xml" ContentType="application/vnd.openxmlformats-officedocument.drawingml.diagramColors+xml"/>
  <Override PartName="/ppt/diagrams/drawing57.xml" ContentType="application/vnd.ms-office.drawingml.diagramDrawing+xml"/>
  <Override PartName="/ppt/diagrams/data58.xml" ContentType="application/vnd.openxmlformats-officedocument.drawingml.diagramData+xml"/>
  <Override PartName="/ppt/diagrams/layout58.xml" ContentType="application/vnd.openxmlformats-officedocument.drawingml.diagramLayout+xml"/>
  <Override PartName="/ppt/diagrams/quickStyle58.xml" ContentType="application/vnd.openxmlformats-officedocument.drawingml.diagramStyle+xml"/>
  <Override PartName="/ppt/diagrams/colors58.xml" ContentType="application/vnd.openxmlformats-officedocument.drawingml.diagramColors+xml"/>
  <Override PartName="/ppt/diagrams/drawing58.xml" ContentType="application/vnd.ms-office.drawingml.diagramDrawing+xml"/>
  <Override PartName="/ppt/notesSlides/notesSlide5.xml" ContentType="application/vnd.openxmlformats-officedocument.presentationml.notesSlide+xml"/>
  <Override PartName="/ppt/diagrams/data59.xml" ContentType="application/vnd.openxmlformats-officedocument.drawingml.diagramData+xml"/>
  <Override PartName="/ppt/diagrams/layout59.xml" ContentType="application/vnd.openxmlformats-officedocument.drawingml.diagramLayout+xml"/>
  <Override PartName="/ppt/diagrams/quickStyle59.xml" ContentType="application/vnd.openxmlformats-officedocument.drawingml.diagramStyle+xml"/>
  <Override PartName="/ppt/diagrams/colors59.xml" ContentType="application/vnd.openxmlformats-officedocument.drawingml.diagramColors+xml"/>
  <Override PartName="/ppt/diagrams/drawing59.xml" ContentType="application/vnd.ms-office.drawingml.diagramDrawing+xml"/>
  <Override PartName="/ppt/diagrams/data60.xml" ContentType="application/vnd.openxmlformats-officedocument.drawingml.diagramData+xml"/>
  <Override PartName="/ppt/diagrams/layout60.xml" ContentType="application/vnd.openxmlformats-officedocument.drawingml.diagramLayout+xml"/>
  <Override PartName="/ppt/diagrams/quickStyle60.xml" ContentType="application/vnd.openxmlformats-officedocument.drawingml.diagramStyle+xml"/>
  <Override PartName="/ppt/diagrams/colors60.xml" ContentType="application/vnd.openxmlformats-officedocument.drawingml.diagramColors+xml"/>
  <Override PartName="/ppt/diagrams/drawing60.xml" ContentType="application/vnd.ms-office.drawingml.diagramDrawing+xml"/>
  <Override PartName="/ppt/diagrams/data61.xml" ContentType="application/vnd.openxmlformats-officedocument.drawingml.diagramData+xml"/>
  <Override PartName="/ppt/diagrams/layout61.xml" ContentType="application/vnd.openxmlformats-officedocument.drawingml.diagramLayout+xml"/>
  <Override PartName="/ppt/diagrams/quickStyle61.xml" ContentType="application/vnd.openxmlformats-officedocument.drawingml.diagramStyle+xml"/>
  <Override PartName="/ppt/diagrams/colors61.xml" ContentType="application/vnd.openxmlformats-officedocument.drawingml.diagramColors+xml"/>
  <Override PartName="/ppt/diagrams/drawing61.xml" ContentType="application/vnd.ms-office.drawingml.diagramDrawing+xml"/>
  <Override PartName="/ppt/diagrams/data62.xml" ContentType="application/vnd.openxmlformats-officedocument.drawingml.diagramData+xml"/>
  <Override PartName="/ppt/diagrams/layout62.xml" ContentType="application/vnd.openxmlformats-officedocument.drawingml.diagramLayout+xml"/>
  <Override PartName="/ppt/diagrams/quickStyle62.xml" ContentType="application/vnd.openxmlformats-officedocument.drawingml.diagramStyle+xml"/>
  <Override PartName="/ppt/diagrams/colors62.xml" ContentType="application/vnd.openxmlformats-officedocument.drawingml.diagramColors+xml"/>
  <Override PartName="/ppt/diagrams/drawing62.xml" ContentType="application/vnd.ms-office.drawingml.diagramDrawing+xml"/>
  <Override PartName="/ppt/diagrams/data63.xml" ContentType="application/vnd.openxmlformats-officedocument.drawingml.diagramData+xml"/>
  <Override PartName="/ppt/diagrams/layout63.xml" ContentType="application/vnd.openxmlformats-officedocument.drawingml.diagramLayout+xml"/>
  <Override PartName="/ppt/diagrams/quickStyle63.xml" ContentType="application/vnd.openxmlformats-officedocument.drawingml.diagramStyle+xml"/>
  <Override PartName="/ppt/diagrams/colors63.xml" ContentType="application/vnd.openxmlformats-officedocument.drawingml.diagramColors+xml"/>
  <Override PartName="/ppt/diagrams/drawing63.xml" ContentType="application/vnd.ms-office.drawingml.diagramDrawing+xml"/>
  <Override PartName="/ppt/diagrams/data64.xml" ContentType="application/vnd.openxmlformats-officedocument.drawingml.diagramData+xml"/>
  <Override PartName="/ppt/diagrams/layout64.xml" ContentType="application/vnd.openxmlformats-officedocument.drawingml.diagramLayout+xml"/>
  <Override PartName="/ppt/diagrams/quickStyle64.xml" ContentType="application/vnd.openxmlformats-officedocument.drawingml.diagramStyle+xml"/>
  <Override PartName="/ppt/diagrams/colors64.xml" ContentType="application/vnd.openxmlformats-officedocument.drawingml.diagramColors+xml"/>
  <Override PartName="/ppt/diagrams/drawing64.xml" ContentType="application/vnd.ms-office.drawingml.diagramDrawing+xml"/>
  <Override PartName="/ppt/diagrams/data65.xml" ContentType="application/vnd.openxmlformats-officedocument.drawingml.diagramData+xml"/>
  <Override PartName="/ppt/diagrams/layout65.xml" ContentType="application/vnd.openxmlformats-officedocument.drawingml.diagramLayout+xml"/>
  <Override PartName="/ppt/diagrams/quickStyle65.xml" ContentType="application/vnd.openxmlformats-officedocument.drawingml.diagramStyle+xml"/>
  <Override PartName="/ppt/diagrams/colors65.xml" ContentType="application/vnd.openxmlformats-officedocument.drawingml.diagramColors+xml"/>
  <Override PartName="/ppt/diagrams/drawing65.xml" ContentType="application/vnd.ms-office.drawingml.diagramDrawing+xml"/>
  <Override PartName="/ppt/diagrams/data66.xml" ContentType="application/vnd.openxmlformats-officedocument.drawingml.diagramData+xml"/>
  <Override PartName="/ppt/diagrams/layout66.xml" ContentType="application/vnd.openxmlformats-officedocument.drawingml.diagramLayout+xml"/>
  <Override PartName="/ppt/diagrams/quickStyle66.xml" ContentType="application/vnd.openxmlformats-officedocument.drawingml.diagramStyle+xml"/>
  <Override PartName="/ppt/diagrams/colors66.xml" ContentType="application/vnd.openxmlformats-officedocument.drawingml.diagramColors+xml"/>
  <Override PartName="/ppt/diagrams/drawing66.xml" ContentType="application/vnd.ms-office.drawingml.diagramDrawing+xml"/>
  <Override PartName="/ppt/diagrams/data67.xml" ContentType="application/vnd.openxmlformats-officedocument.drawingml.diagramData+xml"/>
  <Override PartName="/ppt/diagrams/layout67.xml" ContentType="application/vnd.openxmlformats-officedocument.drawingml.diagramLayout+xml"/>
  <Override PartName="/ppt/diagrams/quickStyle67.xml" ContentType="application/vnd.openxmlformats-officedocument.drawingml.diagramStyle+xml"/>
  <Override PartName="/ppt/diagrams/colors67.xml" ContentType="application/vnd.openxmlformats-officedocument.drawingml.diagramColors+xml"/>
  <Override PartName="/ppt/diagrams/drawing67.xml" ContentType="application/vnd.ms-office.drawingml.diagramDrawing+xml"/>
  <Override PartName="/ppt/diagrams/data68.xml" ContentType="application/vnd.openxmlformats-officedocument.drawingml.diagramData+xml"/>
  <Override PartName="/ppt/diagrams/layout68.xml" ContentType="application/vnd.openxmlformats-officedocument.drawingml.diagramLayout+xml"/>
  <Override PartName="/ppt/diagrams/quickStyle68.xml" ContentType="application/vnd.openxmlformats-officedocument.drawingml.diagramStyle+xml"/>
  <Override PartName="/ppt/diagrams/colors68.xml" ContentType="application/vnd.openxmlformats-officedocument.drawingml.diagramColors+xml"/>
  <Override PartName="/ppt/diagrams/drawing68.xml" ContentType="application/vnd.ms-office.drawingml.diagramDrawing+xml"/>
  <Override PartName="/ppt/diagrams/data69.xml" ContentType="application/vnd.openxmlformats-officedocument.drawingml.diagramData+xml"/>
  <Override PartName="/ppt/diagrams/layout69.xml" ContentType="application/vnd.openxmlformats-officedocument.drawingml.diagramLayout+xml"/>
  <Override PartName="/ppt/diagrams/quickStyle69.xml" ContentType="application/vnd.openxmlformats-officedocument.drawingml.diagramStyle+xml"/>
  <Override PartName="/ppt/diagrams/colors69.xml" ContentType="application/vnd.openxmlformats-officedocument.drawingml.diagramColors+xml"/>
  <Override PartName="/ppt/diagrams/drawing69.xml" ContentType="application/vnd.ms-office.drawingml.diagramDrawing+xml"/>
  <Override PartName="/ppt/diagrams/data70.xml" ContentType="application/vnd.openxmlformats-officedocument.drawingml.diagramData+xml"/>
  <Override PartName="/ppt/diagrams/layout70.xml" ContentType="application/vnd.openxmlformats-officedocument.drawingml.diagramLayout+xml"/>
  <Override PartName="/ppt/diagrams/quickStyle70.xml" ContentType="application/vnd.openxmlformats-officedocument.drawingml.diagramStyle+xml"/>
  <Override PartName="/ppt/diagrams/colors70.xml" ContentType="application/vnd.openxmlformats-officedocument.drawingml.diagramColors+xml"/>
  <Override PartName="/ppt/diagrams/drawing70.xml" ContentType="application/vnd.ms-office.drawingml.diagramDrawing+xml"/>
  <Override PartName="/ppt/diagrams/data71.xml" ContentType="application/vnd.openxmlformats-officedocument.drawingml.diagramData+xml"/>
  <Override PartName="/ppt/diagrams/layout71.xml" ContentType="application/vnd.openxmlformats-officedocument.drawingml.diagramLayout+xml"/>
  <Override PartName="/ppt/diagrams/quickStyle71.xml" ContentType="application/vnd.openxmlformats-officedocument.drawingml.diagramStyle+xml"/>
  <Override PartName="/ppt/diagrams/colors71.xml" ContentType="application/vnd.openxmlformats-officedocument.drawingml.diagramColors+xml"/>
  <Override PartName="/ppt/diagrams/drawing71.xml" ContentType="application/vnd.ms-office.drawingml.diagramDrawing+xml"/>
  <Override PartName="/ppt/diagrams/data72.xml" ContentType="application/vnd.openxmlformats-officedocument.drawingml.diagramData+xml"/>
  <Override PartName="/ppt/diagrams/layout72.xml" ContentType="application/vnd.openxmlformats-officedocument.drawingml.diagramLayout+xml"/>
  <Override PartName="/ppt/diagrams/quickStyle72.xml" ContentType="application/vnd.openxmlformats-officedocument.drawingml.diagramStyle+xml"/>
  <Override PartName="/ppt/diagrams/colors72.xml" ContentType="application/vnd.openxmlformats-officedocument.drawingml.diagramColors+xml"/>
  <Override PartName="/ppt/diagrams/drawing72.xml" ContentType="application/vnd.ms-office.drawingml.diagramDrawing+xml"/>
  <Override PartName="/ppt/diagrams/data73.xml" ContentType="application/vnd.openxmlformats-officedocument.drawingml.diagramData+xml"/>
  <Override PartName="/ppt/diagrams/layout73.xml" ContentType="application/vnd.openxmlformats-officedocument.drawingml.diagramLayout+xml"/>
  <Override PartName="/ppt/diagrams/quickStyle73.xml" ContentType="application/vnd.openxmlformats-officedocument.drawingml.diagramStyle+xml"/>
  <Override PartName="/ppt/diagrams/colors73.xml" ContentType="application/vnd.openxmlformats-officedocument.drawingml.diagramColors+xml"/>
  <Override PartName="/ppt/diagrams/drawing73.xml" ContentType="application/vnd.ms-office.drawingml.diagramDrawing+xml"/>
  <Override PartName="/ppt/diagrams/data74.xml" ContentType="application/vnd.openxmlformats-officedocument.drawingml.diagramData+xml"/>
  <Override PartName="/ppt/diagrams/layout74.xml" ContentType="application/vnd.openxmlformats-officedocument.drawingml.diagramLayout+xml"/>
  <Override PartName="/ppt/diagrams/quickStyle74.xml" ContentType="application/vnd.openxmlformats-officedocument.drawingml.diagramStyle+xml"/>
  <Override PartName="/ppt/diagrams/colors74.xml" ContentType="application/vnd.openxmlformats-officedocument.drawingml.diagramColors+xml"/>
  <Override PartName="/ppt/diagrams/drawing74.xml" ContentType="application/vnd.ms-office.drawingml.diagramDrawing+xml"/>
  <Override PartName="/ppt/diagrams/data75.xml" ContentType="application/vnd.openxmlformats-officedocument.drawingml.diagramData+xml"/>
  <Override PartName="/ppt/diagrams/layout75.xml" ContentType="application/vnd.openxmlformats-officedocument.drawingml.diagramLayout+xml"/>
  <Override PartName="/ppt/diagrams/quickStyle75.xml" ContentType="application/vnd.openxmlformats-officedocument.drawingml.diagramStyle+xml"/>
  <Override PartName="/ppt/diagrams/colors75.xml" ContentType="application/vnd.openxmlformats-officedocument.drawingml.diagramColors+xml"/>
  <Override PartName="/ppt/diagrams/drawing75.xml" ContentType="application/vnd.ms-office.drawingml.diagramDrawing+xml"/>
  <Override PartName="/ppt/diagrams/data76.xml" ContentType="application/vnd.openxmlformats-officedocument.drawingml.diagramData+xml"/>
  <Override PartName="/ppt/diagrams/layout76.xml" ContentType="application/vnd.openxmlformats-officedocument.drawingml.diagramLayout+xml"/>
  <Override PartName="/ppt/diagrams/quickStyle76.xml" ContentType="application/vnd.openxmlformats-officedocument.drawingml.diagramStyle+xml"/>
  <Override PartName="/ppt/diagrams/colors76.xml" ContentType="application/vnd.openxmlformats-officedocument.drawingml.diagramColors+xml"/>
  <Override PartName="/ppt/diagrams/drawing76.xml" ContentType="application/vnd.ms-office.drawingml.diagramDrawing+xml"/>
  <Override PartName="/ppt/diagrams/data77.xml" ContentType="application/vnd.openxmlformats-officedocument.drawingml.diagramData+xml"/>
  <Override PartName="/ppt/diagrams/layout77.xml" ContentType="application/vnd.openxmlformats-officedocument.drawingml.diagramLayout+xml"/>
  <Override PartName="/ppt/diagrams/quickStyle77.xml" ContentType="application/vnd.openxmlformats-officedocument.drawingml.diagramStyle+xml"/>
  <Override PartName="/ppt/diagrams/colors77.xml" ContentType="application/vnd.openxmlformats-officedocument.drawingml.diagramColors+xml"/>
  <Override PartName="/ppt/diagrams/drawing77.xml" ContentType="application/vnd.ms-office.drawingml.diagramDrawing+xml"/>
  <Override PartName="/ppt/diagrams/data78.xml" ContentType="application/vnd.openxmlformats-officedocument.drawingml.diagramData+xml"/>
  <Override PartName="/ppt/diagrams/layout78.xml" ContentType="application/vnd.openxmlformats-officedocument.drawingml.diagramLayout+xml"/>
  <Override PartName="/ppt/diagrams/quickStyle78.xml" ContentType="application/vnd.openxmlformats-officedocument.drawingml.diagramStyle+xml"/>
  <Override PartName="/ppt/diagrams/colors78.xml" ContentType="application/vnd.openxmlformats-officedocument.drawingml.diagramColors+xml"/>
  <Override PartName="/ppt/diagrams/drawing78.xml" ContentType="application/vnd.ms-office.drawingml.diagramDrawing+xml"/>
  <Override PartName="/ppt/diagrams/data79.xml" ContentType="application/vnd.openxmlformats-officedocument.drawingml.diagramData+xml"/>
  <Override PartName="/ppt/diagrams/layout79.xml" ContentType="application/vnd.openxmlformats-officedocument.drawingml.diagramLayout+xml"/>
  <Override PartName="/ppt/diagrams/quickStyle79.xml" ContentType="application/vnd.openxmlformats-officedocument.drawingml.diagramStyle+xml"/>
  <Override PartName="/ppt/diagrams/colors79.xml" ContentType="application/vnd.openxmlformats-officedocument.drawingml.diagramColors+xml"/>
  <Override PartName="/ppt/diagrams/drawing79.xml" ContentType="application/vnd.ms-office.drawingml.diagramDrawing+xml"/>
  <Override PartName="/ppt/diagrams/data80.xml" ContentType="application/vnd.openxmlformats-officedocument.drawingml.diagramData+xml"/>
  <Override PartName="/ppt/diagrams/layout80.xml" ContentType="application/vnd.openxmlformats-officedocument.drawingml.diagramLayout+xml"/>
  <Override PartName="/ppt/diagrams/quickStyle80.xml" ContentType="application/vnd.openxmlformats-officedocument.drawingml.diagramStyle+xml"/>
  <Override PartName="/ppt/diagrams/colors80.xml" ContentType="application/vnd.openxmlformats-officedocument.drawingml.diagramColors+xml"/>
  <Override PartName="/ppt/diagrams/drawing80.xml" ContentType="application/vnd.ms-office.drawingml.diagramDrawing+xml"/>
  <Override PartName="/ppt/diagrams/data81.xml" ContentType="application/vnd.openxmlformats-officedocument.drawingml.diagramData+xml"/>
  <Override PartName="/ppt/diagrams/layout81.xml" ContentType="application/vnd.openxmlformats-officedocument.drawingml.diagramLayout+xml"/>
  <Override PartName="/ppt/diagrams/quickStyle81.xml" ContentType="application/vnd.openxmlformats-officedocument.drawingml.diagramStyle+xml"/>
  <Override PartName="/ppt/diagrams/colors81.xml" ContentType="application/vnd.openxmlformats-officedocument.drawingml.diagramColors+xml"/>
  <Override PartName="/ppt/diagrams/drawing81.xml" ContentType="application/vnd.ms-office.drawingml.diagramDrawing+xml"/>
  <Override PartName="/ppt/diagrams/data82.xml" ContentType="application/vnd.openxmlformats-officedocument.drawingml.diagramData+xml"/>
  <Override PartName="/ppt/diagrams/layout82.xml" ContentType="application/vnd.openxmlformats-officedocument.drawingml.diagramLayout+xml"/>
  <Override PartName="/ppt/diagrams/quickStyle82.xml" ContentType="application/vnd.openxmlformats-officedocument.drawingml.diagramStyle+xml"/>
  <Override PartName="/ppt/diagrams/colors82.xml" ContentType="application/vnd.openxmlformats-officedocument.drawingml.diagramColors+xml"/>
  <Override PartName="/ppt/diagrams/drawing82.xml" ContentType="application/vnd.ms-office.drawingml.diagramDrawing+xml"/>
  <Override PartName="/ppt/diagrams/data83.xml" ContentType="application/vnd.openxmlformats-officedocument.drawingml.diagramData+xml"/>
  <Override PartName="/ppt/diagrams/layout83.xml" ContentType="application/vnd.openxmlformats-officedocument.drawingml.diagramLayout+xml"/>
  <Override PartName="/ppt/diagrams/quickStyle83.xml" ContentType="application/vnd.openxmlformats-officedocument.drawingml.diagramStyle+xml"/>
  <Override PartName="/ppt/diagrams/colors83.xml" ContentType="application/vnd.openxmlformats-officedocument.drawingml.diagramColors+xml"/>
  <Override PartName="/ppt/diagrams/drawing83.xml" ContentType="application/vnd.ms-office.drawingml.diagramDrawing+xml"/>
  <Override PartName="/ppt/diagrams/data84.xml" ContentType="application/vnd.openxmlformats-officedocument.drawingml.diagramData+xml"/>
  <Override PartName="/ppt/diagrams/layout84.xml" ContentType="application/vnd.openxmlformats-officedocument.drawingml.diagramLayout+xml"/>
  <Override PartName="/ppt/diagrams/quickStyle84.xml" ContentType="application/vnd.openxmlformats-officedocument.drawingml.diagramStyle+xml"/>
  <Override PartName="/ppt/diagrams/colors84.xml" ContentType="application/vnd.openxmlformats-officedocument.drawingml.diagramColors+xml"/>
  <Override PartName="/ppt/diagrams/drawing84.xml" ContentType="application/vnd.ms-office.drawingml.diagramDrawing+xml"/>
  <Override PartName="/ppt/diagrams/data85.xml" ContentType="application/vnd.openxmlformats-officedocument.drawingml.diagramData+xml"/>
  <Override PartName="/ppt/diagrams/layout85.xml" ContentType="application/vnd.openxmlformats-officedocument.drawingml.diagramLayout+xml"/>
  <Override PartName="/ppt/diagrams/quickStyle85.xml" ContentType="application/vnd.openxmlformats-officedocument.drawingml.diagramStyle+xml"/>
  <Override PartName="/ppt/diagrams/colors85.xml" ContentType="application/vnd.openxmlformats-officedocument.drawingml.diagramColors+xml"/>
  <Override PartName="/ppt/diagrams/drawing85.xml" ContentType="application/vnd.ms-office.drawingml.diagramDrawing+xml"/>
  <Override PartName="/ppt/diagrams/data86.xml" ContentType="application/vnd.openxmlformats-officedocument.drawingml.diagramData+xml"/>
  <Override PartName="/ppt/diagrams/layout86.xml" ContentType="application/vnd.openxmlformats-officedocument.drawingml.diagramLayout+xml"/>
  <Override PartName="/ppt/diagrams/quickStyle86.xml" ContentType="application/vnd.openxmlformats-officedocument.drawingml.diagramStyle+xml"/>
  <Override PartName="/ppt/diagrams/colors86.xml" ContentType="application/vnd.openxmlformats-officedocument.drawingml.diagramColors+xml"/>
  <Override PartName="/ppt/diagrams/drawing86.xml" ContentType="application/vnd.ms-office.drawingml.diagramDrawing+xml"/>
  <Override PartName="/ppt/diagrams/data87.xml" ContentType="application/vnd.openxmlformats-officedocument.drawingml.diagramData+xml"/>
  <Override PartName="/ppt/diagrams/layout87.xml" ContentType="application/vnd.openxmlformats-officedocument.drawingml.diagramLayout+xml"/>
  <Override PartName="/ppt/diagrams/quickStyle87.xml" ContentType="application/vnd.openxmlformats-officedocument.drawingml.diagramStyle+xml"/>
  <Override PartName="/ppt/diagrams/colors87.xml" ContentType="application/vnd.openxmlformats-officedocument.drawingml.diagramColors+xml"/>
  <Override PartName="/ppt/diagrams/drawing87.xml" ContentType="application/vnd.ms-office.drawingml.diagramDrawing+xml"/>
  <Override PartName="/ppt/diagrams/data88.xml" ContentType="application/vnd.openxmlformats-officedocument.drawingml.diagramData+xml"/>
  <Override PartName="/ppt/diagrams/layout88.xml" ContentType="application/vnd.openxmlformats-officedocument.drawingml.diagramLayout+xml"/>
  <Override PartName="/ppt/diagrams/quickStyle88.xml" ContentType="application/vnd.openxmlformats-officedocument.drawingml.diagramStyle+xml"/>
  <Override PartName="/ppt/diagrams/colors88.xml" ContentType="application/vnd.openxmlformats-officedocument.drawingml.diagramColors+xml"/>
  <Override PartName="/ppt/diagrams/drawing88.xml" ContentType="application/vnd.ms-office.drawingml.diagramDrawing+xml"/>
  <Override PartName="/ppt/diagrams/data89.xml" ContentType="application/vnd.openxmlformats-officedocument.drawingml.diagramData+xml"/>
  <Override PartName="/ppt/diagrams/layout89.xml" ContentType="application/vnd.openxmlformats-officedocument.drawingml.diagramLayout+xml"/>
  <Override PartName="/ppt/diagrams/quickStyle89.xml" ContentType="application/vnd.openxmlformats-officedocument.drawingml.diagramStyle+xml"/>
  <Override PartName="/ppt/diagrams/colors89.xml" ContentType="application/vnd.openxmlformats-officedocument.drawingml.diagramColors+xml"/>
  <Override PartName="/ppt/diagrams/drawing89.xml" ContentType="application/vnd.ms-office.drawingml.diagramDrawing+xml"/>
  <Override PartName="/ppt/diagrams/data90.xml" ContentType="application/vnd.openxmlformats-officedocument.drawingml.diagramData+xml"/>
  <Override PartName="/ppt/diagrams/layout90.xml" ContentType="application/vnd.openxmlformats-officedocument.drawingml.diagramLayout+xml"/>
  <Override PartName="/ppt/diagrams/quickStyle90.xml" ContentType="application/vnd.openxmlformats-officedocument.drawingml.diagramStyle+xml"/>
  <Override PartName="/ppt/diagrams/colors90.xml" ContentType="application/vnd.openxmlformats-officedocument.drawingml.diagramColors+xml"/>
  <Override PartName="/ppt/diagrams/drawing90.xml" ContentType="application/vnd.ms-office.drawingml.diagramDrawing+xml"/>
  <Override PartName="/ppt/diagrams/data91.xml" ContentType="application/vnd.openxmlformats-officedocument.drawingml.diagramData+xml"/>
  <Override PartName="/ppt/diagrams/layout91.xml" ContentType="application/vnd.openxmlformats-officedocument.drawingml.diagramLayout+xml"/>
  <Override PartName="/ppt/diagrams/quickStyle91.xml" ContentType="application/vnd.openxmlformats-officedocument.drawingml.diagramStyle+xml"/>
  <Override PartName="/ppt/diagrams/colors91.xml" ContentType="application/vnd.openxmlformats-officedocument.drawingml.diagramColors+xml"/>
  <Override PartName="/ppt/diagrams/drawing91.xml" ContentType="application/vnd.ms-office.drawingml.diagramDrawing+xml"/>
  <Override PartName="/ppt/diagrams/data92.xml" ContentType="application/vnd.openxmlformats-officedocument.drawingml.diagramData+xml"/>
  <Override PartName="/ppt/diagrams/layout92.xml" ContentType="application/vnd.openxmlformats-officedocument.drawingml.diagramLayout+xml"/>
  <Override PartName="/ppt/diagrams/quickStyle92.xml" ContentType="application/vnd.openxmlformats-officedocument.drawingml.diagramStyle+xml"/>
  <Override PartName="/ppt/diagrams/colors92.xml" ContentType="application/vnd.openxmlformats-officedocument.drawingml.diagramColors+xml"/>
  <Override PartName="/ppt/diagrams/drawing92.xml" ContentType="application/vnd.ms-office.drawingml.diagramDrawing+xml"/>
  <Override PartName="/ppt/diagrams/data93.xml" ContentType="application/vnd.openxmlformats-officedocument.drawingml.diagramData+xml"/>
  <Override PartName="/ppt/diagrams/layout93.xml" ContentType="application/vnd.openxmlformats-officedocument.drawingml.diagramLayout+xml"/>
  <Override PartName="/ppt/diagrams/quickStyle93.xml" ContentType="application/vnd.openxmlformats-officedocument.drawingml.diagramStyle+xml"/>
  <Override PartName="/ppt/diagrams/colors93.xml" ContentType="application/vnd.openxmlformats-officedocument.drawingml.diagramColors+xml"/>
  <Override PartName="/ppt/diagrams/drawing93.xml" ContentType="application/vnd.ms-office.drawingml.diagramDrawing+xml"/>
  <Override PartName="/ppt/diagrams/data94.xml" ContentType="application/vnd.openxmlformats-officedocument.drawingml.diagramData+xml"/>
  <Override PartName="/ppt/diagrams/layout94.xml" ContentType="application/vnd.openxmlformats-officedocument.drawingml.diagramLayout+xml"/>
  <Override PartName="/ppt/diagrams/quickStyle94.xml" ContentType="application/vnd.openxmlformats-officedocument.drawingml.diagramStyle+xml"/>
  <Override PartName="/ppt/diagrams/colors94.xml" ContentType="application/vnd.openxmlformats-officedocument.drawingml.diagramColors+xml"/>
  <Override PartName="/ppt/diagrams/drawing94.xml" ContentType="application/vnd.ms-office.drawingml.diagramDrawing+xml"/>
  <Override PartName="/ppt/diagrams/data95.xml" ContentType="application/vnd.openxmlformats-officedocument.drawingml.diagramData+xml"/>
  <Override PartName="/ppt/diagrams/layout95.xml" ContentType="application/vnd.openxmlformats-officedocument.drawingml.diagramLayout+xml"/>
  <Override PartName="/ppt/diagrams/quickStyle95.xml" ContentType="application/vnd.openxmlformats-officedocument.drawingml.diagramStyle+xml"/>
  <Override PartName="/ppt/diagrams/colors95.xml" ContentType="application/vnd.openxmlformats-officedocument.drawingml.diagramColors+xml"/>
  <Override PartName="/ppt/diagrams/drawing95.xml" ContentType="application/vnd.ms-office.drawingml.diagramDrawing+xml"/>
  <Override PartName="/ppt/diagrams/data96.xml" ContentType="application/vnd.openxmlformats-officedocument.drawingml.diagramData+xml"/>
  <Override PartName="/ppt/diagrams/layout96.xml" ContentType="application/vnd.openxmlformats-officedocument.drawingml.diagramLayout+xml"/>
  <Override PartName="/ppt/diagrams/quickStyle96.xml" ContentType="application/vnd.openxmlformats-officedocument.drawingml.diagramStyle+xml"/>
  <Override PartName="/ppt/diagrams/colors96.xml" ContentType="application/vnd.openxmlformats-officedocument.drawingml.diagramColors+xml"/>
  <Override PartName="/ppt/diagrams/drawing96.xml" ContentType="application/vnd.ms-office.drawingml.diagramDrawing+xml"/>
  <Override PartName="/ppt/diagrams/data97.xml" ContentType="application/vnd.openxmlformats-officedocument.drawingml.diagramData+xml"/>
  <Override PartName="/ppt/diagrams/layout97.xml" ContentType="application/vnd.openxmlformats-officedocument.drawingml.diagramLayout+xml"/>
  <Override PartName="/ppt/diagrams/quickStyle97.xml" ContentType="application/vnd.openxmlformats-officedocument.drawingml.diagramStyle+xml"/>
  <Override PartName="/ppt/diagrams/colors97.xml" ContentType="application/vnd.openxmlformats-officedocument.drawingml.diagramColors+xml"/>
  <Override PartName="/ppt/diagrams/drawing97.xml" ContentType="application/vnd.ms-office.drawingml.diagramDrawing+xml"/>
  <Override PartName="/ppt/diagrams/data98.xml" ContentType="application/vnd.openxmlformats-officedocument.drawingml.diagramData+xml"/>
  <Override PartName="/ppt/diagrams/layout98.xml" ContentType="application/vnd.openxmlformats-officedocument.drawingml.diagramLayout+xml"/>
  <Override PartName="/ppt/diagrams/quickStyle98.xml" ContentType="application/vnd.openxmlformats-officedocument.drawingml.diagramStyle+xml"/>
  <Override PartName="/ppt/diagrams/colors98.xml" ContentType="application/vnd.openxmlformats-officedocument.drawingml.diagramColors+xml"/>
  <Override PartName="/ppt/diagrams/drawing98.xml" ContentType="application/vnd.ms-office.drawingml.diagramDrawing+xml"/>
  <Override PartName="/ppt/diagrams/data99.xml" ContentType="application/vnd.openxmlformats-officedocument.drawingml.diagramData+xml"/>
  <Override PartName="/ppt/diagrams/layout99.xml" ContentType="application/vnd.openxmlformats-officedocument.drawingml.diagramLayout+xml"/>
  <Override PartName="/ppt/diagrams/quickStyle99.xml" ContentType="application/vnd.openxmlformats-officedocument.drawingml.diagramStyle+xml"/>
  <Override PartName="/ppt/diagrams/colors99.xml" ContentType="application/vnd.openxmlformats-officedocument.drawingml.diagramColors+xml"/>
  <Override PartName="/ppt/diagrams/drawing99.xml" ContentType="application/vnd.ms-office.drawingml.diagramDrawing+xml"/>
  <Override PartName="/ppt/diagrams/data100.xml" ContentType="application/vnd.openxmlformats-officedocument.drawingml.diagramData+xml"/>
  <Override PartName="/ppt/diagrams/layout100.xml" ContentType="application/vnd.openxmlformats-officedocument.drawingml.diagramLayout+xml"/>
  <Override PartName="/ppt/diagrams/quickStyle100.xml" ContentType="application/vnd.openxmlformats-officedocument.drawingml.diagramStyle+xml"/>
  <Override PartName="/ppt/diagrams/colors100.xml" ContentType="application/vnd.openxmlformats-officedocument.drawingml.diagramColors+xml"/>
  <Override PartName="/ppt/diagrams/drawing100.xml" ContentType="application/vnd.ms-office.drawingml.diagramDrawing+xml"/>
  <Override PartName="/ppt/diagrams/data101.xml" ContentType="application/vnd.openxmlformats-officedocument.drawingml.diagramData+xml"/>
  <Override PartName="/ppt/diagrams/layout101.xml" ContentType="application/vnd.openxmlformats-officedocument.drawingml.diagramLayout+xml"/>
  <Override PartName="/ppt/diagrams/quickStyle101.xml" ContentType="application/vnd.openxmlformats-officedocument.drawingml.diagramStyle+xml"/>
  <Override PartName="/ppt/diagrams/colors101.xml" ContentType="application/vnd.openxmlformats-officedocument.drawingml.diagramColors+xml"/>
  <Override PartName="/ppt/diagrams/drawing101.xml" ContentType="application/vnd.ms-office.drawingml.diagramDrawing+xml"/>
  <Override PartName="/ppt/diagrams/data102.xml" ContentType="application/vnd.openxmlformats-officedocument.drawingml.diagramData+xml"/>
  <Override PartName="/ppt/diagrams/layout102.xml" ContentType="application/vnd.openxmlformats-officedocument.drawingml.diagramLayout+xml"/>
  <Override PartName="/ppt/diagrams/quickStyle102.xml" ContentType="application/vnd.openxmlformats-officedocument.drawingml.diagramStyle+xml"/>
  <Override PartName="/ppt/diagrams/colors102.xml" ContentType="application/vnd.openxmlformats-officedocument.drawingml.diagramColors+xml"/>
  <Override PartName="/ppt/diagrams/drawing102.xml" ContentType="application/vnd.ms-office.drawingml.diagramDrawing+xml"/>
  <Override PartName="/ppt/diagrams/data103.xml" ContentType="application/vnd.openxmlformats-officedocument.drawingml.diagramData+xml"/>
  <Override PartName="/ppt/diagrams/layout103.xml" ContentType="application/vnd.openxmlformats-officedocument.drawingml.diagramLayout+xml"/>
  <Override PartName="/ppt/diagrams/quickStyle103.xml" ContentType="application/vnd.openxmlformats-officedocument.drawingml.diagramStyle+xml"/>
  <Override PartName="/ppt/diagrams/colors103.xml" ContentType="application/vnd.openxmlformats-officedocument.drawingml.diagramColors+xml"/>
  <Override PartName="/ppt/diagrams/drawing103.xml" ContentType="application/vnd.ms-office.drawingml.diagramDrawing+xml"/>
  <Override PartName="/ppt/diagrams/data104.xml" ContentType="application/vnd.openxmlformats-officedocument.drawingml.diagramData+xml"/>
  <Override PartName="/ppt/diagrams/layout104.xml" ContentType="application/vnd.openxmlformats-officedocument.drawingml.diagramLayout+xml"/>
  <Override PartName="/ppt/diagrams/quickStyle104.xml" ContentType="application/vnd.openxmlformats-officedocument.drawingml.diagramStyle+xml"/>
  <Override PartName="/ppt/diagrams/colors104.xml" ContentType="application/vnd.openxmlformats-officedocument.drawingml.diagramColors+xml"/>
  <Override PartName="/ppt/diagrams/drawing104.xml" ContentType="application/vnd.ms-office.drawingml.diagramDrawing+xml"/>
  <Override PartName="/ppt/diagrams/data105.xml" ContentType="application/vnd.openxmlformats-officedocument.drawingml.diagramData+xml"/>
  <Override PartName="/ppt/diagrams/layout105.xml" ContentType="application/vnd.openxmlformats-officedocument.drawingml.diagramLayout+xml"/>
  <Override PartName="/ppt/diagrams/quickStyle105.xml" ContentType="application/vnd.openxmlformats-officedocument.drawingml.diagramStyle+xml"/>
  <Override PartName="/ppt/diagrams/colors105.xml" ContentType="application/vnd.openxmlformats-officedocument.drawingml.diagramColors+xml"/>
  <Override PartName="/ppt/diagrams/drawing105.xml" ContentType="application/vnd.ms-office.drawingml.diagramDrawing+xml"/>
  <Override PartName="/ppt/diagrams/data106.xml" ContentType="application/vnd.openxmlformats-officedocument.drawingml.diagramData+xml"/>
  <Override PartName="/ppt/diagrams/layout106.xml" ContentType="application/vnd.openxmlformats-officedocument.drawingml.diagramLayout+xml"/>
  <Override PartName="/ppt/diagrams/quickStyle106.xml" ContentType="application/vnd.openxmlformats-officedocument.drawingml.diagramStyle+xml"/>
  <Override PartName="/ppt/diagrams/colors106.xml" ContentType="application/vnd.openxmlformats-officedocument.drawingml.diagramColors+xml"/>
  <Override PartName="/ppt/diagrams/drawing106.xml" ContentType="application/vnd.ms-office.drawingml.diagramDrawing+xml"/>
  <Override PartName="/ppt/diagrams/data107.xml" ContentType="application/vnd.openxmlformats-officedocument.drawingml.diagramData+xml"/>
  <Override PartName="/ppt/diagrams/layout107.xml" ContentType="application/vnd.openxmlformats-officedocument.drawingml.diagramLayout+xml"/>
  <Override PartName="/ppt/diagrams/quickStyle107.xml" ContentType="application/vnd.openxmlformats-officedocument.drawingml.diagramStyle+xml"/>
  <Override PartName="/ppt/diagrams/colors107.xml" ContentType="application/vnd.openxmlformats-officedocument.drawingml.diagramColors+xml"/>
  <Override PartName="/ppt/diagrams/drawing107.xml" ContentType="application/vnd.ms-office.drawingml.diagramDrawing+xml"/>
  <Override PartName="/ppt/diagrams/data108.xml" ContentType="application/vnd.openxmlformats-officedocument.drawingml.diagramData+xml"/>
  <Override PartName="/ppt/diagrams/layout108.xml" ContentType="application/vnd.openxmlformats-officedocument.drawingml.diagramLayout+xml"/>
  <Override PartName="/ppt/diagrams/quickStyle108.xml" ContentType="application/vnd.openxmlformats-officedocument.drawingml.diagramStyle+xml"/>
  <Override PartName="/ppt/diagrams/colors108.xml" ContentType="application/vnd.openxmlformats-officedocument.drawingml.diagramColors+xml"/>
  <Override PartName="/ppt/diagrams/drawing108.xml" ContentType="application/vnd.ms-office.drawingml.diagramDrawing+xml"/>
  <Override PartName="/ppt/diagrams/data109.xml" ContentType="application/vnd.openxmlformats-officedocument.drawingml.diagramData+xml"/>
  <Override PartName="/ppt/diagrams/layout109.xml" ContentType="application/vnd.openxmlformats-officedocument.drawingml.diagramLayout+xml"/>
  <Override PartName="/ppt/diagrams/quickStyle109.xml" ContentType="application/vnd.openxmlformats-officedocument.drawingml.diagramStyle+xml"/>
  <Override PartName="/ppt/diagrams/colors109.xml" ContentType="application/vnd.openxmlformats-officedocument.drawingml.diagramColors+xml"/>
  <Override PartName="/ppt/diagrams/drawing109.xml" ContentType="application/vnd.ms-office.drawingml.diagramDrawing+xml"/>
  <Override PartName="/ppt/diagrams/data110.xml" ContentType="application/vnd.openxmlformats-officedocument.drawingml.diagramData+xml"/>
  <Override PartName="/ppt/diagrams/layout110.xml" ContentType="application/vnd.openxmlformats-officedocument.drawingml.diagramLayout+xml"/>
  <Override PartName="/ppt/diagrams/quickStyle110.xml" ContentType="application/vnd.openxmlformats-officedocument.drawingml.diagramStyle+xml"/>
  <Override PartName="/ppt/diagrams/colors110.xml" ContentType="application/vnd.openxmlformats-officedocument.drawingml.diagramColors+xml"/>
  <Override PartName="/ppt/diagrams/drawing110.xml" ContentType="application/vnd.ms-office.drawingml.diagramDrawing+xml"/>
  <Override PartName="/ppt/diagrams/data111.xml" ContentType="application/vnd.openxmlformats-officedocument.drawingml.diagramData+xml"/>
  <Override PartName="/ppt/diagrams/layout111.xml" ContentType="application/vnd.openxmlformats-officedocument.drawingml.diagramLayout+xml"/>
  <Override PartName="/ppt/diagrams/quickStyle111.xml" ContentType="application/vnd.openxmlformats-officedocument.drawingml.diagramStyle+xml"/>
  <Override PartName="/ppt/diagrams/colors111.xml" ContentType="application/vnd.openxmlformats-officedocument.drawingml.diagramColors+xml"/>
  <Override PartName="/ppt/diagrams/drawing111.xml" ContentType="application/vnd.ms-office.drawingml.diagramDrawing+xml"/>
  <Override PartName="/ppt/diagrams/data112.xml" ContentType="application/vnd.openxmlformats-officedocument.drawingml.diagramData+xml"/>
  <Override PartName="/ppt/diagrams/layout112.xml" ContentType="application/vnd.openxmlformats-officedocument.drawingml.diagramLayout+xml"/>
  <Override PartName="/ppt/diagrams/quickStyle112.xml" ContentType="application/vnd.openxmlformats-officedocument.drawingml.diagramStyle+xml"/>
  <Override PartName="/ppt/diagrams/colors112.xml" ContentType="application/vnd.openxmlformats-officedocument.drawingml.diagramColors+xml"/>
  <Override PartName="/ppt/diagrams/drawing112.xml" ContentType="application/vnd.ms-office.drawingml.diagramDrawing+xml"/>
  <Override PartName="/ppt/diagrams/data113.xml" ContentType="application/vnd.openxmlformats-officedocument.drawingml.diagramData+xml"/>
  <Override PartName="/ppt/diagrams/layout113.xml" ContentType="application/vnd.openxmlformats-officedocument.drawingml.diagramLayout+xml"/>
  <Override PartName="/ppt/diagrams/quickStyle113.xml" ContentType="application/vnd.openxmlformats-officedocument.drawingml.diagramStyle+xml"/>
  <Override PartName="/ppt/diagrams/colors113.xml" ContentType="application/vnd.openxmlformats-officedocument.drawingml.diagramColors+xml"/>
  <Override PartName="/ppt/diagrams/drawing113.xml" ContentType="application/vnd.ms-office.drawingml.diagramDrawing+xml"/>
  <Override PartName="/ppt/diagrams/data114.xml" ContentType="application/vnd.openxmlformats-officedocument.drawingml.diagramData+xml"/>
  <Override PartName="/ppt/diagrams/layout114.xml" ContentType="application/vnd.openxmlformats-officedocument.drawingml.diagramLayout+xml"/>
  <Override PartName="/ppt/diagrams/quickStyle114.xml" ContentType="application/vnd.openxmlformats-officedocument.drawingml.diagramStyle+xml"/>
  <Override PartName="/ppt/diagrams/colors114.xml" ContentType="application/vnd.openxmlformats-officedocument.drawingml.diagramColors+xml"/>
  <Override PartName="/ppt/diagrams/drawing114.xml" ContentType="application/vnd.ms-office.drawingml.diagramDrawing+xml"/>
  <Override PartName="/ppt/diagrams/data115.xml" ContentType="application/vnd.openxmlformats-officedocument.drawingml.diagramData+xml"/>
  <Override PartName="/ppt/diagrams/layout115.xml" ContentType="application/vnd.openxmlformats-officedocument.drawingml.diagramLayout+xml"/>
  <Override PartName="/ppt/diagrams/quickStyle115.xml" ContentType="application/vnd.openxmlformats-officedocument.drawingml.diagramStyle+xml"/>
  <Override PartName="/ppt/diagrams/colors115.xml" ContentType="application/vnd.openxmlformats-officedocument.drawingml.diagramColors+xml"/>
  <Override PartName="/ppt/diagrams/drawing115.xml" ContentType="application/vnd.ms-office.drawingml.diagramDrawing+xml"/>
  <Override PartName="/ppt/diagrams/data116.xml" ContentType="application/vnd.openxmlformats-officedocument.drawingml.diagramData+xml"/>
  <Override PartName="/ppt/diagrams/layout116.xml" ContentType="application/vnd.openxmlformats-officedocument.drawingml.diagramLayout+xml"/>
  <Override PartName="/ppt/diagrams/quickStyle116.xml" ContentType="application/vnd.openxmlformats-officedocument.drawingml.diagramStyle+xml"/>
  <Override PartName="/ppt/diagrams/colors116.xml" ContentType="application/vnd.openxmlformats-officedocument.drawingml.diagramColors+xml"/>
  <Override PartName="/ppt/diagrams/drawing116.xml" ContentType="application/vnd.ms-office.drawingml.diagramDrawing+xml"/>
  <Override PartName="/ppt/diagrams/data117.xml" ContentType="application/vnd.openxmlformats-officedocument.drawingml.diagramData+xml"/>
  <Override PartName="/ppt/diagrams/layout117.xml" ContentType="application/vnd.openxmlformats-officedocument.drawingml.diagramLayout+xml"/>
  <Override PartName="/ppt/diagrams/quickStyle117.xml" ContentType="application/vnd.openxmlformats-officedocument.drawingml.diagramStyle+xml"/>
  <Override PartName="/ppt/diagrams/colors117.xml" ContentType="application/vnd.openxmlformats-officedocument.drawingml.diagramColors+xml"/>
  <Override PartName="/ppt/diagrams/drawing117.xml" ContentType="application/vnd.ms-office.drawingml.diagramDrawing+xml"/>
  <Override PartName="/ppt/diagrams/data118.xml" ContentType="application/vnd.openxmlformats-officedocument.drawingml.diagramData+xml"/>
  <Override PartName="/ppt/diagrams/layout118.xml" ContentType="application/vnd.openxmlformats-officedocument.drawingml.diagramLayout+xml"/>
  <Override PartName="/ppt/diagrams/quickStyle118.xml" ContentType="application/vnd.openxmlformats-officedocument.drawingml.diagramStyle+xml"/>
  <Override PartName="/ppt/diagrams/colors118.xml" ContentType="application/vnd.openxmlformats-officedocument.drawingml.diagramColors+xml"/>
  <Override PartName="/ppt/diagrams/drawing118.xml" ContentType="application/vnd.ms-office.drawingml.diagramDrawing+xml"/>
  <Override PartName="/ppt/diagrams/data119.xml" ContentType="application/vnd.openxmlformats-officedocument.drawingml.diagramData+xml"/>
  <Override PartName="/ppt/diagrams/layout119.xml" ContentType="application/vnd.openxmlformats-officedocument.drawingml.diagramLayout+xml"/>
  <Override PartName="/ppt/diagrams/quickStyle119.xml" ContentType="application/vnd.openxmlformats-officedocument.drawingml.diagramStyle+xml"/>
  <Override PartName="/ppt/diagrams/colors119.xml" ContentType="application/vnd.openxmlformats-officedocument.drawingml.diagramColors+xml"/>
  <Override PartName="/ppt/diagrams/drawing119.xml" ContentType="application/vnd.ms-office.drawingml.diagramDrawing+xml"/>
  <Override PartName="/ppt/diagrams/data120.xml" ContentType="application/vnd.openxmlformats-officedocument.drawingml.diagramData+xml"/>
  <Override PartName="/ppt/diagrams/layout120.xml" ContentType="application/vnd.openxmlformats-officedocument.drawingml.diagramLayout+xml"/>
  <Override PartName="/ppt/diagrams/quickStyle120.xml" ContentType="application/vnd.openxmlformats-officedocument.drawingml.diagramStyle+xml"/>
  <Override PartName="/ppt/diagrams/colors120.xml" ContentType="application/vnd.openxmlformats-officedocument.drawingml.diagramColors+xml"/>
  <Override PartName="/ppt/diagrams/drawing120.xml" ContentType="application/vnd.ms-office.drawingml.diagramDrawing+xml"/>
  <Override PartName="/ppt/diagrams/data121.xml" ContentType="application/vnd.openxmlformats-officedocument.drawingml.diagramData+xml"/>
  <Override PartName="/ppt/diagrams/layout121.xml" ContentType="application/vnd.openxmlformats-officedocument.drawingml.diagramLayout+xml"/>
  <Override PartName="/ppt/diagrams/quickStyle121.xml" ContentType="application/vnd.openxmlformats-officedocument.drawingml.diagramStyle+xml"/>
  <Override PartName="/ppt/diagrams/colors121.xml" ContentType="application/vnd.openxmlformats-officedocument.drawingml.diagramColors+xml"/>
  <Override PartName="/ppt/diagrams/drawing121.xml" ContentType="application/vnd.ms-office.drawingml.diagramDrawing+xml"/>
  <Override PartName="/ppt/diagrams/data122.xml" ContentType="application/vnd.openxmlformats-officedocument.drawingml.diagramData+xml"/>
  <Override PartName="/ppt/diagrams/layout122.xml" ContentType="application/vnd.openxmlformats-officedocument.drawingml.diagramLayout+xml"/>
  <Override PartName="/ppt/diagrams/quickStyle122.xml" ContentType="application/vnd.openxmlformats-officedocument.drawingml.diagramStyle+xml"/>
  <Override PartName="/ppt/diagrams/colors122.xml" ContentType="application/vnd.openxmlformats-officedocument.drawingml.diagramColors+xml"/>
  <Override PartName="/ppt/diagrams/drawing122.xml" ContentType="application/vnd.ms-office.drawingml.diagramDrawing+xml"/>
  <Override PartName="/ppt/notesSlides/notesSlide6.xml" ContentType="application/vnd.openxmlformats-officedocument.presentationml.notesSlide+xml"/>
  <Override PartName="/ppt/diagrams/data123.xml" ContentType="application/vnd.openxmlformats-officedocument.drawingml.diagramData+xml"/>
  <Override PartName="/ppt/diagrams/layout123.xml" ContentType="application/vnd.openxmlformats-officedocument.drawingml.diagramLayout+xml"/>
  <Override PartName="/ppt/diagrams/quickStyle123.xml" ContentType="application/vnd.openxmlformats-officedocument.drawingml.diagramStyle+xml"/>
  <Override PartName="/ppt/diagrams/colors123.xml" ContentType="application/vnd.openxmlformats-officedocument.drawingml.diagramColors+xml"/>
  <Override PartName="/ppt/diagrams/drawing123.xml" ContentType="application/vnd.ms-office.drawingml.diagramDrawing+xml"/>
  <Override PartName="/ppt/notesSlides/notesSlide7.xml" ContentType="application/vnd.openxmlformats-officedocument.presentationml.notesSlide+xml"/>
  <Override PartName="/ppt/diagrams/data124.xml" ContentType="application/vnd.openxmlformats-officedocument.drawingml.diagramData+xml"/>
  <Override PartName="/ppt/diagrams/layout124.xml" ContentType="application/vnd.openxmlformats-officedocument.drawingml.diagramLayout+xml"/>
  <Override PartName="/ppt/diagrams/quickStyle124.xml" ContentType="application/vnd.openxmlformats-officedocument.drawingml.diagramStyle+xml"/>
  <Override PartName="/ppt/diagrams/colors124.xml" ContentType="application/vnd.openxmlformats-officedocument.drawingml.diagramColors+xml"/>
  <Override PartName="/ppt/diagrams/drawing12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4"/>
  </p:notesMasterIdLst>
  <p:sldIdLst>
    <p:sldId id="257" r:id="rId2"/>
    <p:sldId id="260" r:id="rId3"/>
    <p:sldId id="261" r:id="rId4"/>
    <p:sldId id="262" r:id="rId5"/>
    <p:sldId id="268" r:id="rId6"/>
    <p:sldId id="269" r:id="rId7"/>
    <p:sldId id="263" r:id="rId8"/>
    <p:sldId id="278" r:id="rId9"/>
    <p:sldId id="264" r:id="rId10"/>
    <p:sldId id="265" r:id="rId11"/>
    <p:sldId id="302" r:id="rId12"/>
    <p:sldId id="303" r:id="rId13"/>
    <p:sldId id="304" r:id="rId14"/>
    <p:sldId id="305" r:id="rId15"/>
    <p:sldId id="306" r:id="rId16"/>
    <p:sldId id="307" r:id="rId17"/>
    <p:sldId id="308" r:id="rId18"/>
    <p:sldId id="309" r:id="rId19"/>
    <p:sldId id="294" r:id="rId20"/>
    <p:sldId id="279" r:id="rId21"/>
    <p:sldId id="280" r:id="rId22"/>
    <p:sldId id="281" r:id="rId23"/>
    <p:sldId id="282" r:id="rId24"/>
    <p:sldId id="283" r:id="rId25"/>
    <p:sldId id="284" r:id="rId26"/>
    <p:sldId id="285" r:id="rId27"/>
    <p:sldId id="286" r:id="rId28"/>
    <p:sldId id="287" r:id="rId29"/>
    <p:sldId id="288" r:id="rId30"/>
    <p:sldId id="289" r:id="rId31"/>
    <p:sldId id="290" r:id="rId32"/>
    <p:sldId id="291" r:id="rId33"/>
    <p:sldId id="292" r:id="rId34"/>
    <p:sldId id="293" r:id="rId35"/>
    <p:sldId id="276" r:id="rId36"/>
    <p:sldId id="277" r:id="rId37"/>
    <p:sldId id="296" r:id="rId38"/>
    <p:sldId id="297" r:id="rId39"/>
    <p:sldId id="298" r:id="rId40"/>
    <p:sldId id="299" r:id="rId41"/>
    <p:sldId id="300" r:id="rId42"/>
    <p:sldId id="301" r:id="rId43"/>
  </p:sldIdLst>
  <p:sldSz cx="9144000" cy="6858000" type="screen4x3"/>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2838BEF-8BB2-4498-84A7-C5851F593DF1}" styleName="Stile medio 4 - Colore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C2FFA5D-87B4-456A-9821-1D502468CF0F}" styleName="Stile con tema 1 - Colore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27F97BB-C833-4FB7-BDE5-3F7075034690}" styleName="Stile con tema 2 - Colore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FD0F851-EC5A-4D38-B0AD-8093EC10F338}" styleName="Stile chiaro 1 - Colore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94" autoAdjust="0"/>
    <p:restoredTop sz="94660"/>
  </p:normalViewPr>
  <p:slideViewPr>
    <p:cSldViewPr>
      <p:cViewPr>
        <p:scale>
          <a:sx n="76" d="100"/>
          <a:sy n="76" d="100"/>
        </p:scale>
        <p:origin x="-1218" y="20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bleStyles" Target="tableStyles.xml"/></Relationships>
</file>

<file path=ppt/diagrams/_rels/data25.xml.rels><?xml version="1.0" encoding="UTF-8" standalone="yes"?>
<Relationships xmlns="http://schemas.openxmlformats.org/package/2006/relationships"><Relationship Id="rId3" Type="http://schemas.openxmlformats.org/officeDocument/2006/relationships/image" Target="../media/image12.jpeg"/><Relationship Id="rId2" Type="http://schemas.microsoft.com/office/2007/relationships/hdphoto" Target="../media/hdphoto1.wdp"/><Relationship Id="rId1" Type="http://schemas.openxmlformats.org/officeDocument/2006/relationships/image" Target="../media/image11.jpeg"/></Relationships>
</file>

<file path=ppt/diagrams/_rels/data2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image" Target="../media/image13.jpeg"/></Relationships>
</file>

<file path=ppt/diagrams/_rels/drawing25.xml.rels><?xml version="1.0" encoding="UTF-8" standalone="yes"?>
<Relationships xmlns="http://schemas.openxmlformats.org/package/2006/relationships"><Relationship Id="rId3" Type="http://schemas.openxmlformats.org/officeDocument/2006/relationships/image" Target="../media/image12.jpeg"/><Relationship Id="rId2" Type="http://schemas.microsoft.com/office/2007/relationships/hdphoto" Target="../media/hdphoto1.wdp"/><Relationship Id="rId1" Type="http://schemas.openxmlformats.org/officeDocument/2006/relationships/image" Target="../media/image11.jpeg"/></Relationships>
</file>

<file path=ppt/diagrams/_rels/drawing2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image" Target="../media/image13.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0.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1.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3.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5.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7.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8.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9.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0.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3.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5.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8.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9.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0.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1#6">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1#7">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colorful1#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9.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0.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5.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8.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9.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0.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2.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3.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5.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6.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8.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9.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5.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8.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9.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0.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1.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4.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5.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8.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9.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custT="1"/>
      <dgm:spPr/>
      <dgm:t>
        <a:bodyPr/>
        <a:lstStyle/>
        <a:p>
          <a:pPr rtl="0"/>
          <a:r>
            <a:rPr lang="it-IT" sz="4000" b="1" dirty="0" smtClean="0">
              <a:solidFill>
                <a:schemeClr val="accent1">
                  <a:lumMod val="75000"/>
                </a:schemeClr>
              </a:solidFill>
            </a:rPr>
            <a:t>Chi siamo</a:t>
          </a:r>
          <a:endParaRPr lang="it-IT" sz="4000" b="1" dirty="0">
            <a:solidFill>
              <a:schemeClr val="accent1">
                <a:lumMod val="75000"/>
              </a:schemeClr>
            </a:solidFill>
          </a:endParaRPr>
        </a:p>
      </dgm:t>
    </dgm:pt>
    <dgm:pt modelId="{4AA17FDB-A052-4790-AE95-CF73ACE16E71}" type="parTrans" cxnId="{61C24A8C-0B83-4B1F-AD85-E5EDDAA1AC00}">
      <dgm:prSet/>
      <dgm:spPr/>
      <dgm:t>
        <a:bodyPr/>
        <a:lstStyle/>
        <a:p>
          <a:endParaRPr lang="it-IT" sz="4000"/>
        </a:p>
      </dgm:t>
    </dgm:pt>
    <dgm:pt modelId="{C167467F-04BA-4DE5-90F4-5BF53279866E}" type="sibTrans" cxnId="{61C24A8C-0B83-4B1F-AD85-E5EDDAA1AC00}">
      <dgm:prSet/>
      <dgm:spPr/>
      <dgm:t>
        <a:bodyPr/>
        <a:lstStyle/>
        <a:p>
          <a:endParaRPr lang="it-IT" sz="4000"/>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6BE4E230-22ED-4F76-A490-CE87A56031A2}" type="presOf" srcId="{2BF37BE0-F1C9-4327-8D6B-194C8F2CF94F}" destId="{7D920113-6D83-4974-923F-4CAA40CA2FDB}" srcOrd="0" destOrd="0" presId="urn:microsoft.com/office/officeart/2008/layout/LinedList"/>
    <dgm:cxn modelId="{047030B9-DCF8-4608-8133-8B2F425183EF}" type="presOf" srcId="{37F295A9-2A2E-416D-9AE6-C3404377959E}" destId="{58FB0A67-F67A-40BA-890E-A840ED83B605}"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546E0FE1-1D10-4023-B7D0-8D2768D4E84A}" type="presParOf" srcId="{58FB0A67-F67A-40BA-890E-A840ED83B605}" destId="{AB26EC88-0333-42E8-B340-C2B4FE18384A}" srcOrd="0" destOrd="0" presId="urn:microsoft.com/office/officeart/2008/layout/LinedList"/>
    <dgm:cxn modelId="{6E6D38EF-245B-48F8-B3FA-8EC62FABB7E9}" type="presParOf" srcId="{58FB0A67-F67A-40BA-890E-A840ED83B605}" destId="{45792684-4DE0-4EDD-B49A-A40AB3BD4B9E}" srcOrd="1" destOrd="0" presId="urn:microsoft.com/office/officeart/2008/layout/LinedList"/>
    <dgm:cxn modelId="{61C7A34C-DA03-407E-8F7E-03F2DDF39938}" type="presParOf" srcId="{45792684-4DE0-4EDD-B49A-A40AB3BD4B9E}" destId="{7D920113-6D83-4974-923F-4CAA40CA2FDB}" srcOrd="0" destOrd="0" presId="urn:microsoft.com/office/officeart/2008/layout/LinedList"/>
    <dgm:cxn modelId="{F00CF280-97A3-4A98-884C-A4FEEF5CE2D0}"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368F97F-F6E3-475E-B404-74D21EF24621}" type="doc">
      <dgm:prSet loTypeId="urn:microsoft.com/office/officeart/2005/8/layout/default#1" loCatId="list" qsTypeId="urn:microsoft.com/office/officeart/2005/8/quickstyle/3d3" qsCatId="3D" csTypeId="urn:microsoft.com/office/officeart/2005/8/colors/accent1_2" csCatId="accent1" phldr="1"/>
      <dgm:spPr/>
      <dgm:t>
        <a:bodyPr/>
        <a:lstStyle/>
        <a:p>
          <a:endParaRPr lang="it-IT"/>
        </a:p>
      </dgm:t>
    </dgm:pt>
    <dgm:pt modelId="{8BA397AC-D747-4707-9354-5F5691AA6C69}">
      <dgm:prSet phldrT="[Testo]" custT="1"/>
      <dgm:spPr/>
      <dgm:t>
        <a:bodyPr/>
        <a:lstStyle/>
        <a:p>
          <a:r>
            <a:rPr lang="it-IT" sz="1800" dirty="0" smtClean="0"/>
            <a:t>Definizione piano di lavoro (in presenza)</a:t>
          </a:r>
        </a:p>
        <a:p>
          <a:r>
            <a:rPr lang="it-IT" sz="1800" dirty="0" smtClean="0"/>
            <a:t>8-9 maggio 2014</a:t>
          </a:r>
          <a:endParaRPr lang="it-IT" sz="1800" dirty="0"/>
        </a:p>
      </dgm:t>
    </dgm:pt>
    <dgm:pt modelId="{2DB22199-E337-49F0-A93D-FCDB1AB3A785}" type="parTrans" cxnId="{18538E5F-5097-436F-A926-EA0FD38241F9}">
      <dgm:prSet/>
      <dgm:spPr/>
      <dgm:t>
        <a:bodyPr/>
        <a:lstStyle/>
        <a:p>
          <a:endParaRPr lang="it-IT"/>
        </a:p>
      </dgm:t>
    </dgm:pt>
    <dgm:pt modelId="{35B1F1FF-6350-46D7-9389-596E1DBC77A8}" type="sibTrans" cxnId="{18538E5F-5097-436F-A926-EA0FD38241F9}">
      <dgm:prSet/>
      <dgm:spPr/>
      <dgm:t>
        <a:bodyPr/>
        <a:lstStyle/>
        <a:p>
          <a:endParaRPr lang="it-IT"/>
        </a:p>
      </dgm:t>
    </dgm:pt>
    <dgm:pt modelId="{5160F0DF-DB10-43F8-8981-C303FB3C8C07}" type="pres">
      <dgm:prSet presAssocID="{1368F97F-F6E3-475E-B404-74D21EF24621}" presName="diagram" presStyleCnt="0">
        <dgm:presLayoutVars>
          <dgm:dir/>
          <dgm:resizeHandles val="exact"/>
        </dgm:presLayoutVars>
      </dgm:prSet>
      <dgm:spPr/>
      <dgm:t>
        <a:bodyPr/>
        <a:lstStyle/>
        <a:p>
          <a:endParaRPr lang="it-IT"/>
        </a:p>
      </dgm:t>
    </dgm:pt>
    <dgm:pt modelId="{192835D1-122D-4027-AADC-8E33108B9F24}" type="pres">
      <dgm:prSet presAssocID="{8BA397AC-D747-4707-9354-5F5691AA6C69}" presName="node" presStyleLbl="node1" presStyleIdx="0" presStyleCnt="1" custScaleX="180816" custScaleY="118846" custLinFactY="200000" custLinFactNeighborX="16910" custLinFactNeighborY="222203">
        <dgm:presLayoutVars>
          <dgm:bulletEnabled val="1"/>
        </dgm:presLayoutVars>
      </dgm:prSet>
      <dgm:spPr/>
      <dgm:t>
        <a:bodyPr/>
        <a:lstStyle/>
        <a:p>
          <a:endParaRPr lang="it-IT"/>
        </a:p>
      </dgm:t>
    </dgm:pt>
  </dgm:ptLst>
  <dgm:cxnLst>
    <dgm:cxn modelId="{BA72891D-FDC4-4F74-B022-DECA83F53E0C}" type="presOf" srcId="{8BA397AC-D747-4707-9354-5F5691AA6C69}" destId="{192835D1-122D-4027-AADC-8E33108B9F24}" srcOrd="0" destOrd="0" presId="urn:microsoft.com/office/officeart/2005/8/layout/default#1"/>
    <dgm:cxn modelId="{18538E5F-5097-436F-A926-EA0FD38241F9}" srcId="{1368F97F-F6E3-475E-B404-74D21EF24621}" destId="{8BA397AC-D747-4707-9354-5F5691AA6C69}" srcOrd="0" destOrd="0" parTransId="{2DB22199-E337-49F0-A93D-FCDB1AB3A785}" sibTransId="{35B1F1FF-6350-46D7-9389-596E1DBC77A8}"/>
    <dgm:cxn modelId="{7F86E0AB-EA39-4660-83AF-2EE531A13436}" type="presOf" srcId="{1368F97F-F6E3-475E-B404-74D21EF24621}" destId="{5160F0DF-DB10-43F8-8981-C303FB3C8C07}" srcOrd="0" destOrd="0" presId="urn:microsoft.com/office/officeart/2005/8/layout/default#1"/>
    <dgm:cxn modelId="{510D28A0-6B98-4722-A904-8D45AD6943F2}" type="presParOf" srcId="{5160F0DF-DB10-43F8-8981-C303FB3C8C07}" destId="{192835D1-122D-4027-AADC-8E33108B9F24}" srcOrd="0" destOrd="0" presId="urn:microsoft.com/office/officeart/2005/8/layout/default#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100.xml><?xml version="1.0" encoding="utf-8"?>
<dgm:dataModel xmlns:dgm="http://schemas.openxmlformats.org/drawingml/2006/diagram" xmlns:a="http://schemas.openxmlformats.org/drawingml/2006/main">
  <dgm:ptLst>
    <dgm:pt modelId="{F7E528C2-2A82-4B82-B450-9A3C8AE5F80C}" type="doc">
      <dgm:prSet loTypeId="urn:microsoft.com/office/officeart/2005/8/layout/vList2" loCatId="list" qsTypeId="urn:microsoft.com/office/officeart/2005/8/quickstyle/simple1" qsCatId="simple" csTypeId="urn:microsoft.com/office/officeart/2005/8/colors/accent6_2" csCatId="accent6" phldr="1"/>
      <dgm:spPr/>
      <dgm:t>
        <a:bodyPr/>
        <a:lstStyle/>
        <a:p>
          <a:endParaRPr lang="it-IT"/>
        </a:p>
      </dgm:t>
    </dgm:pt>
    <dgm:pt modelId="{A3F1DFDD-091D-4A02-B952-D25D8EEA3D80}">
      <dgm:prSet/>
      <dgm:spPr/>
      <dgm:t>
        <a:bodyPr/>
        <a:lstStyle/>
        <a:p>
          <a:pPr algn="just" rtl="0"/>
          <a:r>
            <a:rPr lang="it-IT" u="sng" dirty="0" smtClean="0"/>
            <a:t>Se si guarda al nord Europa si osserva che città prive di patrimonio culturale e altamente competitive sul piano della creatività sono state capaci di introdurre numerose innovazioni nel settore produttivo. </a:t>
          </a:r>
          <a:endParaRPr lang="it-IT" dirty="0"/>
        </a:p>
      </dgm:t>
    </dgm:pt>
    <dgm:pt modelId="{E13C4420-7129-42D5-B68B-F748D7E03583}" type="parTrans" cxnId="{0EEA6C05-35F0-4D12-B029-845B65DCF730}">
      <dgm:prSet/>
      <dgm:spPr/>
      <dgm:t>
        <a:bodyPr/>
        <a:lstStyle/>
        <a:p>
          <a:endParaRPr lang="it-IT"/>
        </a:p>
      </dgm:t>
    </dgm:pt>
    <dgm:pt modelId="{4DB7724F-C82C-4540-B47B-13E59DF030D0}" type="sibTrans" cxnId="{0EEA6C05-35F0-4D12-B029-845B65DCF730}">
      <dgm:prSet/>
      <dgm:spPr/>
      <dgm:t>
        <a:bodyPr/>
        <a:lstStyle/>
        <a:p>
          <a:endParaRPr lang="it-IT"/>
        </a:p>
      </dgm:t>
    </dgm:pt>
    <dgm:pt modelId="{F5A8A6A0-35C1-48F7-9812-E3558D018DF5}" type="pres">
      <dgm:prSet presAssocID="{F7E528C2-2A82-4B82-B450-9A3C8AE5F80C}" presName="linear" presStyleCnt="0">
        <dgm:presLayoutVars>
          <dgm:animLvl val="lvl"/>
          <dgm:resizeHandles val="exact"/>
        </dgm:presLayoutVars>
      </dgm:prSet>
      <dgm:spPr/>
      <dgm:t>
        <a:bodyPr/>
        <a:lstStyle/>
        <a:p>
          <a:endParaRPr lang="it-IT"/>
        </a:p>
      </dgm:t>
    </dgm:pt>
    <dgm:pt modelId="{F97A4BB6-41B1-4C1A-B1F4-792628E82E07}" type="pres">
      <dgm:prSet presAssocID="{A3F1DFDD-091D-4A02-B952-D25D8EEA3D80}" presName="parentText" presStyleLbl="node1" presStyleIdx="0" presStyleCnt="1" custLinFactNeighborX="1171" custLinFactNeighborY="1019">
        <dgm:presLayoutVars>
          <dgm:chMax val="0"/>
          <dgm:bulletEnabled val="1"/>
        </dgm:presLayoutVars>
      </dgm:prSet>
      <dgm:spPr/>
      <dgm:t>
        <a:bodyPr/>
        <a:lstStyle/>
        <a:p>
          <a:endParaRPr lang="it-IT"/>
        </a:p>
      </dgm:t>
    </dgm:pt>
  </dgm:ptLst>
  <dgm:cxnLst>
    <dgm:cxn modelId="{0EEA6C05-35F0-4D12-B029-845B65DCF730}" srcId="{F7E528C2-2A82-4B82-B450-9A3C8AE5F80C}" destId="{A3F1DFDD-091D-4A02-B952-D25D8EEA3D80}" srcOrd="0" destOrd="0" parTransId="{E13C4420-7129-42D5-B68B-F748D7E03583}" sibTransId="{4DB7724F-C82C-4540-B47B-13E59DF030D0}"/>
    <dgm:cxn modelId="{0B1D8184-C7EE-4E97-BE5D-7B1029032936}" type="presOf" srcId="{A3F1DFDD-091D-4A02-B952-D25D8EEA3D80}" destId="{F97A4BB6-41B1-4C1A-B1F4-792628E82E07}" srcOrd="0" destOrd="0" presId="urn:microsoft.com/office/officeart/2005/8/layout/vList2"/>
    <dgm:cxn modelId="{ECF765C2-9B28-47A8-B721-A5B0D3B23FBF}" type="presOf" srcId="{F7E528C2-2A82-4B82-B450-9A3C8AE5F80C}" destId="{F5A8A6A0-35C1-48F7-9812-E3558D018DF5}" srcOrd="0" destOrd="0" presId="urn:microsoft.com/office/officeart/2005/8/layout/vList2"/>
    <dgm:cxn modelId="{E4676EAA-2BA1-4A08-9BF4-091F360C2DFA}" type="presParOf" srcId="{F5A8A6A0-35C1-48F7-9812-E3558D018DF5}" destId="{F97A4BB6-41B1-4C1A-B1F4-792628E82E07}" srcOrd="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01.xml><?xml version="1.0" encoding="utf-8"?>
<dgm:dataModel xmlns:dgm="http://schemas.openxmlformats.org/drawingml/2006/diagram" xmlns:a="http://schemas.openxmlformats.org/drawingml/2006/main">
  <dgm:ptLst>
    <dgm:pt modelId="{BC97B00B-A169-4399-8F97-7F4C3ADACFE2}" type="doc">
      <dgm:prSet loTypeId="urn:microsoft.com/office/officeart/2005/8/layout/lProcess3" loCatId="process" qsTypeId="urn:microsoft.com/office/officeart/2005/8/quickstyle/simple1" qsCatId="simple" csTypeId="urn:microsoft.com/office/officeart/2005/8/colors/accent6_1" csCatId="accent6"/>
      <dgm:spPr/>
      <dgm:t>
        <a:bodyPr/>
        <a:lstStyle/>
        <a:p>
          <a:endParaRPr lang="it-IT"/>
        </a:p>
      </dgm:t>
    </dgm:pt>
    <dgm:pt modelId="{1D1796BA-F4E9-406A-88E4-3B549BC7007D}">
      <dgm:prSet/>
      <dgm:spPr/>
      <dgm:t>
        <a:bodyPr/>
        <a:lstStyle/>
        <a:p>
          <a:pPr rtl="0"/>
          <a:r>
            <a:rPr lang="it-IT" u="sng" dirty="0" smtClean="0"/>
            <a:t>Se il sistema siciliano fosse capace di promuovere creatività e innovazione, facendo leva sulla valorizzazione del proprio patrimonio culturale, potrebbero rendere questa dotazione un vantaggio competitivo non replicabile in altri contesti. </a:t>
          </a:r>
          <a:endParaRPr lang="it-IT" dirty="0"/>
        </a:p>
      </dgm:t>
    </dgm:pt>
    <dgm:pt modelId="{8040CD4C-F085-499E-8076-CE883715C5CA}" type="parTrans" cxnId="{6180C792-B4AE-4AFC-ABD1-961E64249C8D}">
      <dgm:prSet/>
      <dgm:spPr/>
      <dgm:t>
        <a:bodyPr/>
        <a:lstStyle/>
        <a:p>
          <a:endParaRPr lang="it-IT"/>
        </a:p>
      </dgm:t>
    </dgm:pt>
    <dgm:pt modelId="{281B49E6-207F-4391-8753-C9BF223E9751}" type="sibTrans" cxnId="{6180C792-B4AE-4AFC-ABD1-961E64249C8D}">
      <dgm:prSet/>
      <dgm:spPr/>
      <dgm:t>
        <a:bodyPr/>
        <a:lstStyle/>
        <a:p>
          <a:endParaRPr lang="it-IT"/>
        </a:p>
      </dgm:t>
    </dgm:pt>
    <dgm:pt modelId="{010E892C-8AE4-4C6D-8351-9D2C561A11F0}" type="pres">
      <dgm:prSet presAssocID="{BC97B00B-A169-4399-8F97-7F4C3ADACFE2}" presName="Name0" presStyleCnt="0">
        <dgm:presLayoutVars>
          <dgm:chPref val="3"/>
          <dgm:dir/>
          <dgm:animLvl val="lvl"/>
          <dgm:resizeHandles/>
        </dgm:presLayoutVars>
      </dgm:prSet>
      <dgm:spPr/>
      <dgm:t>
        <a:bodyPr/>
        <a:lstStyle/>
        <a:p>
          <a:endParaRPr lang="it-IT"/>
        </a:p>
      </dgm:t>
    </dgm:pt>
    <dgm:pt modelId="{3D1DE8F3-0FB2-4265-B8AF-B8CFAE48ADCB}" type="pres">
      <dgm:prSet presAssocID="{1D1796BA-F4E9-406A-88E4-3B549BC7007D}" presName="horFlow" presStyleCnt="0"/>
      <dgm:spPr/>
    </dgm:pt>
    <dgm:pt modelId="{A54DB904-8919-40A2-90E6-B5D50E7E27D0}" type="pres">
      <dgm:prSet presAssocID="{1D1796BA-F4E9-406A-88E4-3B549BC7007D}" presName="bigChev" presStyleLbl="node1" presStyleIdx="0" presStyleCnt="1"/>
      <dgm:spPr/>
      <dgm:t>
        <a:bodyPr/>
        <a:lstStyle/>
        <a:p>
          <a:endParaRPr lang="it-IT"/>
        </a:p>
      </dgm:t>
    </dgm:pt>
  </dgm:ptLst>
  <dgm:cxnLst>
    <dgm:cxn modelId="{6180C792-B4AE-4AFC-ABD1-961E64249C8D}" srcId="{BC97B00B-A169-4399-8F97-7F4C3ADACFE2}" destId="{1D1796BA-F4E9-406A-88E4-3B549BC7007D}" srcOrd="0" destOrd="0" parTransId="{8040CD4C-F085-499E-8076-CE883715C5CA}" sibTransId="{281B49E6-207F-4391-8753-C9BF223E9751}"/>
    <dgm:cxn modelId="{9174D30F-7F18-410C-AFB3-A09F4D6DC621}" type="presOf" srcId="{1D1796BA-F4E9-406A-88E4-3B549BC7007D}" destId="{A54DB904-8919-40A2-90E6-B5D50E7E27D0}" srcOrd="0" destOrd="0" presId="urn:microsoft.com/office/officeart/2005/8/layout/lProcess3"/>
    <dgm:cxn modelId="{2B487DA5-6392-4AB2-BA6C-8313CCAE3B35}" type="presOf" srcId="{BC97B00B-A169-4399-8F97-7F4C3ADACFE2}" destId="{010E892C-8AE4-4C6D-8351-9D2C561A11F0}" srcOrd="0" destOrd="0" presId="urn:microsoft.com/office/officeart/2005/8/layout/lProcess3"/>
    <dgm:cxn modelId="{EC9B12AD-D892-4447-949F-EDFC3BE0751A}" type="presParOf" srcId="{010E892C-8AE4-4C6D-8351-9D2C561A11F0}" destId="{3D1DE8F3-0FB2-4265-B8AF-B8CFAE48ADCB}" srcOrd="0" destOrd="0" presId="urn:microsoft.com/office/officeart/2005/8/layout/lProcess3"/>
    <dgm:cxn modelId="{7D0D5624-0713-447C-B812-B4AB19D4C2D2}" type="presParOf" srcId="{3D1DE8F3-0FB2-4265-B8AF-B8CFAE48ADCB}" destId="{A54DB904-8919-40A2-90E6-B5D50E7E27D0}" srcOrd="0" destOrd="0" presId="urn:microsoft.com/office/officeart/2005/8/layout/lProcess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02.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rtl="0"/>
          <a:r>
            <a:rPr lang="it-IT" sz="1400" b="1" dirty="0" smtClean="0">
              <a:effectLst>
                <a:outerShdw blurRad="38100" dist="38100" dir="2700000" algn="tl">
                  <a:srgbClr val="000000">
                    <a:alpha val="43137"/>
                  </a:srgbClr>
                </a:outerShdw>
              </a:effectLst>
            </a:rPr>
            <a:t>3. Indicazioni di Priorità</a:t>
          </a:r>
          <a:endParaRPr lang="it-IT" sz="14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custScaleY="78457">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custScaleY="90321">
        <dgm:presLayoutVars>
          <dgm:bulletEnabled val="1"/>
        </dgm:presLayoutVars>
      </dgm:prSet>
      <dgm:spPr/>
    </dgm:pt>
  </dgm:ptLst>
  <dgm:cxnLst>
    <dgm:cxn modelId="{ECBED1EB-445B-494F-92B1-268B38058AD8}" type="presOf" srcId="{E4C7AF03-E2BD-4E48-8DAB-C1261D3D7EA9}" destId="{03DB856F-DE91-4CA0-AD05-B356DE21BFDC}" srcOrd="0" destOrd="0" presId="urn:microsoft.com/office/officeart/2005/8/layout/list1"/>
    <dgm:cxn modelId="{76AE3DB8-C84D-4AF9-BED2-7FCD92410649}" type="presOf" srcId="{E4C7AF03-E2BD-4E48-8DAB-C1261D3D7EA9}" destId="{21D380AD-5D38-4835-9FB5-615E5454C686}" srcOrd="1"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1111C802-D9ED-45D2-987D-04789149400C}" type="presOf" srcId="{188FD03C-7D6A-4D29-8FCB-9C1383057E36}" destId="{C08F212E-D010-4B1B-884C-243E8BB88BD2}" srcOrd="0" destOrd="0" presId="urn:microsoft.com/office/officeart/2005/8/layout/list1"/>
    <dgm:cxn modelId="{14601A1C-96A0-4733-B92D-0B6B4975F471}" type="presParOf" srcId="{C08F212E-D010-4B1B-884C-243E8BB88BD2}" destId="{A042C0D5-6636-40E8-83EA-703099528EDB}" srcOrd="0" destOrd="0" presId="urn:microsoft.com/office/officeart/2005/8/layout/list1"/>
    <dgm:cxn modelId="{E1D875F9-DAB0-4C15-A892-5313CCBBE17E}" type="presParOf" srcId="{A042C0D5-6636-40E8-83EA-703099528EDB}" destId="{03DB856F-DE91-4CA0-AD05-B356DE21BFDC}" srcOrd="0" destOrd="0" presId="urn:microsoft.com/office/officeart/2005/8/layout/list1"/>
    <dgm:cxn modelId="{09F8197B-EBB3-426E-954C-EE1242A17A8F}" type="presParOf" srcId="{A042C0D5-6636-40E8-83EA-703099528EDB}" destId="{21D380AD-5D38-4835-9FB5-615E5454C686}" srcOrd="1" destOrd="0" presId="urn:microsoft.com/office/officeart/2005/8/layout/list1"/>
    <dgm:cxn modelId="{734E3192-9791-45A9-8A41-378EB5E57EB2}" type="presParOf" srcId="{C08F212E-D010-4B1B-884C-243E8BB88BD2}" destId="{E77B3B8A-36B6-4AF7-9D59-DF889FA8E07C}" srcOrd="1" destOrd="0" presId="urn:microsoft.com/office/officeart/2005/8/layout/list1"/>
    <dgm:cxn modelId="{56705775-1285-4557-82B0-AECAD9C0A6AA}"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103.xml><?xml version="1.0" encoding="utf-8"?>
<dgm:dataModel xmlns:dgm="http://schemas.openxmlformats.org/drawingml/2006/diagram" xmlns:a="http://schemas.openxmlformats.org/drawingml/2006/main">
  <dgm:ptLst>
    <dgm:pt modelId="{92BD79AC-90DD-4808-87E2-1BFEFB03C890}" type="doc">
      <dgm:prSet loTypeId="urn:microsoft.com/office/officeart/2005/8/layout/vList2" loCatId="list" qsTypeId="urn:microsoft.com/office/officeart/2005/8/quickstyle/simple1" qsCatId="simple" csTypeId="urn:microsoft.com/office/officeart/2005/8/colors/accent6_1" csCatId="accent6" phldr="1"/>
      <dgm:spPr/>
      <dgm:t>
        <a:bodyPr/>
        <a:lstStyle/>
        <a:p>
          <a:endParaRPr lang="it-IT"/>
        </a:p>
      </dgm:t>
    </dgm:pt>
    <dgm:pt modelId="{C05DBDC6-2427-468F-8C6C-5156C8D3B95B}">
      <dgm:prSet custT="1"/>
      <dgm:spPr/>
      <dgm:t>
        <a:bodyPr/>
        <a:lstStyle/>
        <a:p>
          <a:pPr algn="just" rtl="0"/>
          <a:r>
            <a:rPr lang="it-IT" sz="1600" dirty="0" smtClean="0"/>
            <a:t>Se si guarda al nord Europa si osserva che città prive di patrimonio culturale e altamente competitive sul piano della creatività sono state capaci di introdurre numerose </a:t>
          </a:r>
          <a:r>
            <a:rPr lang="it-IT" sz="1600" b="1" dirty="0" smtClean="0"/>
            <a:t>innovazioni nel settore produttivo. </a:t>
          </a:r>
          <a:endParaRPr lang="it-IT" sz="1600" b="1" dirty="0"/>
        </a:p>
      </dgm:t>
    </dgm:pt>
    <dgm:pt modelId="{0A238BC0-1C2B-4EA6-A38D-BBFD22D752A5}" type="parTrans" cxnId="{90AF0F78-F7B0-42D7-A8E2-95F8F7865948}">
      <dgm:prSet/>
      <dgm:spPr/>
      <dgm:t>
        <a:bodyPr/>
        <a:lstStyle/>
        <a:p>
          <a:endParaRPr lang="it-IT"/>
        </a:p>
      </dgm:t>
    </dgm:pt>
    <dgm:pt modelId="{3B79AE1A-892F-469E-AA75-3B5D23BDB251}" type="sibTrans" cxnId="{90AF0F78-F7B0-42D7-A8E2-95F8F7865948}">
      <dgm:prSet/>
      <dgm:spPr/>
      <dgm:t>
        <a:bodyPr/>
        <a:lstStyle/>
        <a:p>
          <a:endParaRPr lang="it-IT"/>
        </a:p>
      </dgm:t>
    </dgm:pt>
    <dgm:pt modelId="{DD423C41-49FC-4D5A-AF57-314BB26F4E69}" type="pres">
      <dgm:prSet presAssocID="{92BD79AC-90DD-4808-87E2-1BFEFB03C890}" presName="linear" presStyleCnt="0">
        <dgm:presLayoutVars>
          <dgm:animLvl val="lvl"/>
          <dgm:resizeHandles val="exact"/>
        </dgm:presLayoutVars>
      </dgm:prSet>
      <dgm:spPr/>
      <dgm:t>
        <a:bodyPr/>
        <a:lstStyle/>
        <a:p>
          <a:endParaRPr lang="it-IT"/>
        </a:p>
      </dgm:t>
    </dgm:pt>
    <dgm:pt modelId="{EC717246-856B-4A93-9B52-E6EB1A0B951D}" type="pres">
      <dgm:prSet presAssocID="{C05DBDC6-2427-468F-8C6C-5156C8D3B95B}" presName="parentText" presStyleLbl="node1" presStyleIdx="0" presStyleCnt="1" custLinFactNeighborY="3758">
        <dgm:presLayoutVars>
          <dgm:chMax val="0"/>
          <dgm:bulletEnabled val="1"/>
        </dgm:presLayoutVars>
      </dgm:prSet>
      <dgm:spPr/>
      <dgm:t>
        <a:bodyPr/>
        <a:lstStyle/>
        <a:p>
          <a:endParaRPr lang="it-IT"/>
        </a:p>
      </dgm:t>
    </dgm:pt>
  </dgm:ptLst>
  <dgm:cxnLst>
    <dgm:cxn modelId="{90AF0F78-F7B0-42D7-A8E2-95F8F7865948}" srcId="{92BD79AC-90DD-4808-87E2-1BFEFB03C890}" destId="{C05DBDC6-2427-468F-8C6C-5156C8D3B95B}" srcOrd="0" destOrd="0" parTransId="{0A238BC0-1C2B-4EA6-A38D-BBFD22D752A5}" sibTransId="{3B79AE1A-892F-469E-AA75-3B5D23BDB251}"/>
    <dgm:cxn modelId="{43779C28-F586-4813-B245-73B32E4B87F5}" type="presOf" srcId="{92BD79AC-90DD-4808-87E2-1BFEFB03C890}" destId="{DD423C41-49FC-4D5A-AF57-314BB26F4E69}" srcOrd="0" destOrd="0" presId="urn:microsoft.com/office/officeart/2005/8/layout/vList2"/>
    <dgm:cxn modelId="{9065AB34-A51D-40EE-986A-F308D9E6C067}" type="presOf" srcId="{C05DBDC6-2427-468F-8C6C-5156C8D3B95B}" destId="{EC717246-856B-4A93-9B52-E6EB1A0B951D}" srcOrd="0" destOrd="0" presId="urn:microsoft.com/office/officeart/2005/8/layout/vList2"/>
    <dgm:cxn modelId="{E596702A-A486-4525-9AF1-93958732C77C}" type="presParOf" srcId="{DD423C41-49FC-4D5A-AF57-314BB26F4E69}" destId="{EC717246-856B-4A93-9B52-E6EB1A0B951D}"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4.xml><?xml version="1.0" encoding="utf-8"?>
<dgm:dataModel xmlns:dgm="http://schemas.openxmlformats.org/drawingml/2006/diagram" xmlns:a="http://schemas.openxmlformats.org/drawingml/2006/main">
  <dgm:ptLst>
    <dgm:pt modelId="{628B3E17-149F-4A8C-9F15-922E0A031C83}" type="doc">
      <dgm:prSet loTypeId="urn:microsoft.com/office/officeart/2005/8/layout/vList2" loCatId="list" qsTypeId="urn:microsoft.com/office/officeart/2005/8/quickstyle/simple1" qsCatId="simple" csTypeId="urn:microsoft.com/office/officeart/2005/8/colors/accent6_2" csCatId="accent6" phldr="1"/>
      <dgm:spPr/>
      <dgm:t>
        <a:bodyPr/>
        <a:lstStyle/>
        <a:p>
          <a:endParaRPr lang="it-IT"/>
        </a:p>
      </dgm:t>
    </dgm:pt>
    <dgm:pt modelId="{D61C516D-4A59-441A-AD91-D2793A8B0E42}">
      <dgm:prSet/>
      <dgm:spPr/>
      <dgm:t>
        <a:bodyPr/>
        <a:lstStyle/>
        <a:p>
          <a:pPr algn="just" rtl="0"/>
          <a:r>
            <a:rPr lang="it-IT" dirty="0" smtClean="0"/>
            <a:t>Molte città e regioni come la Sicilia, fortemente dotate di beni culturali, invece, attente solo ad un sistema tradizionale di promozione turistica, vedono le loro economie in difficoltà. </a:t>
          </a:r>
          <a:r>
            <a:rPr lang="it-IT" b="1" dirty="0" smtClean="0"/>
            <a:t>Se il sistema siciliano fosse capace di promuovere creatività e innovazione, facendo leva sulla valorizzazione del proprio patrimonio culturale, potrebbero rendere questa dotazione un vantaggio competitivo non replicabile in altri contesti.</a:t>
          </a:r>
          <a:endParaRPr lang="it-IT" b="1" dirty="0"/>
        </a:p>
      </dgm:t>
    </dgm:pt>
    <dgm:pt modelId="{44B039CB-0FB2-44C2-9551-56A61B21A822}" type="parTrans" cxnId="{6DE05C8B-D7A2-418E-910D-FE54965242E4}">
      <dgm:prSet/>
      <dgm:spPr/>
      <dgm:t>
        <a:bodyPr/>
        <a:lstStyle/>
        <a:p>
          <a:endParaRPr lang="it-IT"/>
        </a:p>
      </dgm:t>
    </dgm:pt>
    <dgm:pt modelId="{BB8B1567-C105-4319-99F6-EBFF6C0D5D0B}" type="sibTrans" cxnId="{6DE05C8B-D7A2-418E-910D-FE54965242E4}">
      <dgm:prSet/>
      <dgm:spPr/>
      <dgm:t>
        <a:bodyPr/>
        <a:lstStyle/>
        <a:p>
          <a:endParaRPr lang="it-IT"/>
        </a:p>
      </dgm:t>
    </dgm:pt>
    <dgm:pt modelId="{5A0FD45E-3597-41C5-8416-3BD04B0C4A77}" type="pres">
      <dgm:prSet presAssocID="{628B3E17-149F-4A8C-9F15-922E0A031C83}" presName="linear" presStyleCnt="0">
        <dgm:presLayoutVars>
          <dgm:animLvl val="lvl"/>
          <dgm:resizeHandles val="exact"/>
        </dgm:presLayoutVars>
      </dgm:prSet>
      <dgm:spPr/>
      <dgm:t>
        <a:bodyPr/>
        <a:lstStyle/>
        <a:p>
          <a:endParaRPr lang="it-IT"/>
        </a:p>
      </dgm:t>
    </dgm:pt>
    <dgm:pt modelId="{88D001BE-EBD0-4065-8260-146C6BBF79C6}" type="pres">
      <dgm:prSet presAssocID="{D61C516D-4A59-441A-AD91-D2793A8B0E42}" presName="parentText" presStyleLbl="node1" presStyleIdx="0" presStyleCnt="1" custLinFactNeighborX="48425" custLinFactNeighborY="81031">
        <dgm:presLayoutVars>
          <dgm:chMax val="0"/>
          <dgm:bulletEnabled val="1"/>
        </dgm:presLayoutVars>
      </dgm:prSet>
      <dgm:spPr/>
      <dgm:t>
        <a:bodyPr/>
        <a:lstStyle/>
        <a:p>
          <a:endParaRPr lang="it-IT"/>
        </a:p>
      </dgm:t>
    </dgm:pt>
  </dgm:ptLst>
  <dgm:cxnLst>
    <dgm:cxn modelId="{6DE05C8B-D7A2-418E-910D-FE54965242E4}" srcId="{628B3E17-149F-4A8C-9F15-922E0A031C83}" destId="{D61C516D-4A59-441A-AD91-D2793A8B0E42}" srcOrd="0" destOrd="0" parTransId="{44B039CB-0FB2-44C2-9551-56A61B21A822}" sibTransId="{BB8B1567-C105-4319-99F6-EBFF6C0D5D0B}"/>
    <dgm:cxn modelId="{DFF42A91-074F-4A96-86B1-FAA5BFECE484}" type="presOf" srcId="{D61C516D-4A59-441A-AD91-D2793A8B0E42}" destId="{88D001BE-EBD0-4065-8260-146C6BBF79C6}" srcOrd="0" destOrd="0" presId="urn:microsoft.com/office/officeart/2005/8/layout/vList2"/>
    <dgm:cxn modelId="{4F8CB260-8B64-44D4-B84B-9CD93C901BBE}" type="presOf" srcId="{628B3E17-149F-4A8C-9F15-922E0A031C83}" destId="{5A0FD45E-3597-41C5-8416-3BD04B0C4A77}" srcOrd="0" destOrd="0" presId="urn:microsoft.com/office/officeart/2005/8/layout/vList2"/>
    <dgm:cxn modelId="{6B75399C-61A8-4D22-8B76-AD251333A8C1}" type="presParOf" srcId="{5A0FD45E-3597-41C5-8416-3BD04B0C4A77}" destId="{88D001BE-EBD0-4065-8260-146C6BBF79C6}" srcOrd="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05.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rtl="0"/>
          <a:r>
            <a:rPr lang="it-IT" sz="1400" b="1" dirty="0" smtClean="0">
              <a:effectLst>
                <a:outerShdw blurRad="38100" dist="38100" dir="2700000" algn="tl">
                  <a:srgbClr val="000000">
                    <a:alpha val="43137"/>
                  </a:srgbClr>
                </a:outerShdw>
              </a:effectLst>
            </a:rPr>
            <a:t>3. Indicazioni di Priorità</a:t>
          </a:r>
          <a:endParaRPr lang="it-IT" sz="14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custScaleY="78457">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custScaleY="90321">
        <dgm:presLayoutVars>
          <dgm:bulletEnabled val="1"/>
        </dgm:presLayoutVars>
      </dgm:prSet>
      <dgm:spPr/>
    </dgm:pt>
  </dgm:ptLst>
  <dgm:cxnLst>
    <dgm:cxn modelId="{E0C86A41-E6CF-40E3-8FA3-88DB90A6D9F3}" type="presOf" srcId="{E4C7AF03-E2BD-4E48-8DAB-C1261D3D7EA9}" destId="{21D380AD-5D38-4835-9FB5-615E5454C686}" srcOrd="1" destOrd="0" presId="urn:microsoft.com/office/officeart/2005/8/layout/list1"/>
    <dgm:cxn modelId="{5F4954A0-3C74-4A13-BD3D-ECAFC7C1217C}" type="presOf" srcId="{188FD03C-7D6A-4D29-8FCB-9C1383057E36}" destId="{C08F212E-D010-4B1B-884C-243E8BB88BD2}" srcOrd="0" destOrd="0" presId="urn:microsoft.com/office/officeart/2005/8/layout/list1"/>
    <dgm:cxn modelId="{60130270-6B7F-4DB6-AC31-FE5C26E26BB8}" type="presOf" srcId="{E4C7AF03-E2BD-4E48-8DAB-C1261D3D7EA9}" destId="{03DB856F-DE91-4CA0-AD05-B356DE21BFDC}"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14E2AFDA-5A2E-42A0-9784-8550A1A94A8D}" type="presParOf" srcId="{C08F212E-D010-4B1B-884C-243E8BB88BD2}" destId="{A042C0D5-6636-40E8-83EA-703099528EDB}" srcOrd="0" destOrd="0" presId="urn:microsoft.com/office/officeart/2005/8/layout/list1"/>
    <dgm:cxn modelId="{74E9F5C8-18CC-45D5-AF81-0362D9A348F3}" type="presParOf" srcId="{A042C0D5-6636-40E8-83EA-703099528EDB}" destId="{03DB856F-DE91-4CA0-AD05-B356DE21BFDC}" srcOrd="0" destOrd="0" presId="urn:microsoft.com/office/officeart/2005/8/layout/list1"/>
    <dgm:cxn modelId="{E94286D9-B700-40F6-9DB4-5F8ED3D53063}" type="presParOf" srcId="{A042C0D5-6636-40E8-83EA-703099528EDB}" destId="{21D380AD-5D38-4835-9FB5-615E5454C686}" srcOrd="1" destOrd="0" presId="urn:microsoft.com/office/officeart/2005/8/layout/list1"/>
    <dgm:cxn modelId="{2C98033A-6973-4F9E-A2FA-059A3E06DF07}" type="presParOf" srcId="{C08F212E-D010-4B1B-884C-243E8BB88BD2}" destId="{E77B3B8A-36B6-4AF7-9D59-DF889FA8E07C}" srcOrd="1" destOrd="0" presId="urn:microsoft.com/office/officeart/2005/8/layout/list1"/>
    <dgm:cxn modelId="{D65E6D2C-086A-4B2B-81DC-E943A62F08AC}"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06.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Indicazioni di priorità per RIS3</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6DB1781E-3BAC-4012-B26F-2A1FC7932F3A}" type="presOf" srcId="{72D59079-C521-4525-81A4-701D931A8233}" destId="{9CE9EFE3-4E69-404A-8A99-59388A9E3922}" srcOrd="0" destOrd="0" presId="urn:microsoft.com/office/officeart/2005/8/layout/chevronAccent+Icon"/>
    <dgm:cxn modelId="{BE667CA6-E90C-4B87-AD36-BF60D516B666}" type="presOf" srcId="{9AF403A6-2C5C-4F1B-B787-47496D3DBC71}" destId="{639FA514-32E4-4E31-8688-3C040A3F30E9}" srcOrd="0" destOrd="0" presId="urn:microsoft.com/office/officeart/2005/8/layout/chevronAccent+Icon"/>
    <dgm:cxn modelId="{20C5F170-D1B3-42C6-BBB1-E56C8C6992EA}" type="presParOf" srcId="{639FA514-32E4-4E31-8688-3C040A3F30E9}" destId="{F100BA9B-D4E3-421F-B5D8-42E4C50A115C}" srcOrd="0" destOrd="0" presId="urn:microsoft.com/office/officeart/2005/8/layout/chevronAccent+Icon"/>
    <dgm:cxn modelId="{B742FF88-838E-4FC2-AE32-D85AC872C8CF}" type="presParOf" srcId="{F100BA9B-D4E3-421F-B5D8-42E4C50A115C}" destId="{51AD98A5-0898-43D1-8FB1-9AA58104A73C}" srcOrd="0" destOrd="0" presId="urn:microsoft.com/office/officeart/2005/8/layout/chevronAccent+Icon"/>
    <dgm:cxn modelId="{77CEC6F4-0C2E-49B9-BF9F-20D2003AB5B8}"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107.xml><?xml version="1.0" encoding="utf-8"?>
<dgm:dataModel xmlns:dgm="http://schemas.openxmlformats.org/drawingml/2006/diagram" xmlns:a="http://schemas.openxmlformats.org/drawingml/2006/main">
  <dgm:ptLst>
    <dgm:pt modelId="{92B05902-C5F1-4223-AAA7-07AB096152E3}" type="doc">
      <dgm:prSet loTypeId="urn:microsoft.com/office/officeart/2008/layout/LinedList" loCatId="list" qsTypeId="urn:microsoft.com/office/officeart/2005/8/quickstyle/simple1" qsCatId="simple" csTypeId="urn:microsoft.com/office/officeart/2005/8/colors/accent6_1" csCatId="accent6" phldr="1"/>
      <dgm:spPr/>
      <dgm:t>
        <a:bodyPr/>
        <a:lstStyle/>
        <a:p>
          <a:endParaRPr lang="it-IT"/>
        </a:p>
      </dgm:t>
    </dgm:pt>
    <dgm:pt modelId="{886B9852-1E45-4FA8-8D72-EC6FD7BD877D}">
      <dgm:prSet custT="1"/>
      <dgm:spPr/>
      <dgm:t>
        <a:bodyPr/>
        <a:lstStyle/>
        <a:p>
          <a:pPr rtl="0"/>
          <a:r>
            <a:rPr lang="it-IT" sz="1200" b="1" dirty="0" smtClean="0"/>
            <a:t>ACCRESCERE</a:t>
          </a:r>
          <a:r>
            <a:rPr lang="it-IT" sz="1200" dirty="0" smtClean="0"/>
            <a:t> L’</a:t>
          </a:r>
          <a:r>
            <a:rPr lang="it-IT" sz="1200" b="1" dirty="0" smtClean="0"/>
            <a:t> INNOVAZIONE TECNOLOGICA DIGITALE</a:t>
          </a:r>
          <a:r>
            <a:rPr lang="it-IT" sz="1200" dirty="0" smtClean="0"/>
            <a:t> considerato il ruolo sempre più rilevante che anche in campo turistico svolge la digitalizzazione (4,5 miliardi di euro di fatturato online stimati nel 2012 per l'Italia) che vede il turismo come il settore più importante per il commercio elettronico italiano considerando che Internet rappresenta un canale sempre più importante per la prenotazione e la gestione di viaggi e vacanze. (Osservatorio e-commerce B2C del Politecnico di Milano)</a:t>
          </a:r>
          <a:endParaRPr lang="it-IT" sz="1200" dirty="0"/>
        </a:p>
      </dgm:t>
    </dgm:pt>
    <dgm:pt modelId="{B8697152-C528-4B01-8B4B-130340EF7B04}" type="parTrans" cxnId="{28C15BE4-0101-42D9-A1F9-6171646725A8}">
      <dgm:prSet/>
      <dgm:spPr/>
      <dgm:t>
        <a:bodyPr/>
        <a:lstStyle/>
        <a:p>
          <a:endParaRPr lang="it-IT"/>
        </a:p>
      </dgm:t>
    </dgm:pt>
    <dgm:pt modelId="{FD7BD2D1-5CAF-4FB8-8B4F-ADA4B0CA2EF5}" type="sibTrans" cxnId="{28C15BE4-0101-42D9-A1F9-6171646725A8}">
      <dgm:prSet/>
      <dgm:spPr/>
      <dgm:t>
        <a:bodyPr/>
        <a:lstStyle/>
        <a:p>
          <a:endParaRPr lang="it-IT"/>
        </a:p>
      </dgm:t>
    </dgm:pt>
    <dgm:pt modelId="{B06B7C0D-D83B-4FE9-9EDE-EBD24B0F5652}">
      <dgm:prSet custT="1"/>
      <dgm:spPr/>
      <dgm:t>
        <a:bodyPr/>
        <a:lstStyle/>
        <a:p>
          <a:pPr rtl="0"/>
          <a:r>
            <a:rPr lang="it-IT" sz="1200" b="1" dirty="0" smtClean="0"/>
            <a:t>AUMENTARE LA DISPONIBILITÀ DEI SERVIZI WEB (</a:t>
          </a:r>
          <a:r>
            <a:rPr lang="it-IT" sz="1200" dirty="0" smtClean="0"/>
            <a:t>contenuti, navigabilità, proposta itinerari, ecc.) ed ampliare i margini di miglioramento delle imprese ricettive (strategie di marketing, offerta ai clienti di personalizzare e progettare i prodotti, utilizzo del commercio e della fatturazione elettronici, forme di collaborazione e aggregazioni in rete per sfruttare le potenzialità di Internet e adeguarsi ai nuovi modelli turistici, gestione di partnership con primari operatori web);</a:t>
          </a:r>
          <a:endParaRPr lang="it-IT" sz="1200" dirty="0"/>
        </a:p>
      </dgm:t>
    </dgm:pt>
    <dgm:pt modelId="{9588A0FD-EBCF-4ED9-B7B6-4322D54B7E8E}" type="parTrans" cxnId="{CDC80DA8-2B59-4756-BD69-2CD3D149E07C}">
      <dgm:prSet/>
      <dgm:spPr/>
      <dgm:t>
        <a:bodyPr/>
        <a:lstStyle/>
        <a:p>
          <a:endParaRPr lang="it-IT"/>
        </a:p>
      </dgm:t>
    </dgm:pt>
    <dgm:pt modelId="{30E31622-5CDC-42BB-93EC-212493E5704B}" type="sibTrans" cxnId="{CDC80DA8-2B59-4756-BD69-2CD3D149E07C}">
      <dgm:prSet/>
      <dgm:spPr/>
      <dgm:t>
        <a:bodyPr/>
        <a:lstStyle/>
        <a:p>
          <a:endParaRPr lang="it-IT"/>
        </a:p>
      </dgm:t>
    </dgm:pt>
    <dgm:pt modelId="{4149EA9E-1F37-478B-9B35-0D7297C1303D}">
      <dgm:prSet custT="1"/>
      <dgm:spPr/>
      <dgm:t>
        <a:bodyPr/>
        <a:lstStyle/>
        <a:p>
          <a:pPr rtl="0"/>
          <a:r>
            <a:rPr lang="it-IT" sz="1200" b="1" dirty="0" smtClean="0"/>
            <a:t>CREARE NUOVE FILIERE E RELATIVI PRODOTTI UTILIZZANDO LE TECNOLOGIE DEL WEB SEMANTICO</a:t>
          </a:r>
          <a:r>
            <a:rPr lang="it-IT" sz="1200" dirty="0" smtClean="0"/>
            <a:t>, strumenti e piattaforme digitali, e creando una domanda interna per le imprese dell’ ICT e dei new media, in particolare per le start up e gli spin off dotati anche di competenze per soddisfare con nuove applicazioni la sempre maggior propensione dei turisti verso i canali digitali per esigenze legate alla visita; </a:t>
          </a:r>
          <a:endParaRPr lang="it-IT" sz="1200" dirty="0"/>
        </a:p>
      </dgm:t>
    </dgm:pt>
    <dgm:pt modelId="{2CE68ACD-94A4-4BFC-BFCD-2F6F60A06A60}" type="parTrans" cxnId="{F38250CD-ABD7-4A46-B0FB-90F5902AB984}">
      <dgm:prSet/>
      <dgm:spPr/>
      <dgm:t>
        <a:bodyPr/>
        <a:lstStyle/>
        <a:p>
          <a:endParaRPr lang="it-IT"/>
        </a:p>
      </dgm:t>
    </dgm:pt>
    <dgm:pt modelId="{0DAEC8E2-3633-46B6-BD76-98B2DDF3F525}" type="sibTrans" cxnId="{F38250CD-ABD7-4A46-B0FB-90F5902AB984}">
      <dgm:prSet/>
      <dgm:spPr/>
      <dgm:t>
        <a:bodyPr/>
        <a:lstStyle/>
        <a:p>
          <a:endParaRPr lang="it-IT"/>
        </a:p>
      </dgm:t>
    </dgm:pt>
    <dgm:pt modelId="{02D50520-581B-48DB-A042-A181D262BD47}">
      <dgm:prSet custT="1"/>
      <dgm:spPr/>
      <dgm:t>
        <a:bodyPr/>
        <a:lstStyle/>
        <a:p>
          <a:pPr rtl="0"/>
          <a:r>
            <a:rPr lang="it-IT" sz="1200" b="1" dirty="0" smtClean="0"/>
            <a:t>ACCRESCERE LA CAPACITÀ DI OFFERTA CULTURALE INTEGRATA ATTRAVERSO PIATTAFORME TECNOLOGICHE COMUNI</a:t>
          </a:r>
          <a:r>
            <a:rPr lang="it-IT" sz="1200" dirty="0" smtClean="0"/>
            <a:t> (per es. e-commerce e siti web) tra i poli (per es. tra siti Unesco), attrattori culturali e imprese di diversi comparti (hotel, aziende vinicole, musei, imprese high tech,…). </a:t>
          </a:r>
          <a:endParaRPr lang="it-IT" sz="1200" dirty="0"/>
        </a:p>
      </dgm:t>
    </dgm:pt>
    <dgm:pt modelId="{EBECB527-966A-4300-80F7-75CFAFF08363}" type="parTrans" cxnId="{7B8C2C6E-2F49-4A24-A287-CF17BD24C069}">
      <dgm:prSet/>
      <dgm:spPr/>
      <dgm:t>
        <a:bodyPr/>
        <a:lstStyle/>
        <a:p>
          <a:endParaRPr lang="it-IT"/>
        </a:p>
      </dgm:t>
    </dgm:pt>
    <dgm:pt modelId="{918E990D-9AB0-4F02-9D9B-C1987BAC04D4}" type="sibTrans" cxnId="{7B8C2C6E-2F49-4A24-A287-CF17BD24C069}">
      <dgm:prSet/>
      <dgm:spPr/>
      <dgm:t>
        <a:bodyPr/>
        <a:lstStyle/>
        <a:p>
          <a:endParaRPr lang="it-IT"/>
        </a:p>
      </dgm:t>
    </dgm:pt>
    <dgm:pt modelId="{98F87070-7E0F-4300-AD7B-1FBB013317CE}">
      <dgm:prSet custT="1"/>
      <dgm:spPr/>
      <dgm:t>
        <a:bodyPr/>
        <a:lstStyle/>
        <a:p>
          <a:pPr rtl="0"/>
          <a:r>
            <a:rPr lang="it-IT" sz="1200" b="1" dirty="0" smtClean="0"/>
            <a:t>INTRODURRE INNOVAZIONI NON TECNOLOGICHE </a:t>
          </a:r>
          <a:r>
            <a:rPr lang="it-IT" sz="1200" dirty="0" smtClean="0"/>
            <a:t>(attivazione di networks transnazionali, innovazioni manageriali e gestionali, di marketing, di modelli di business, innovazione sociale…) che al pari di quelle tecnologiche, concorrono all’avanzamento di processi di innovazione a supporto dello sviluppo sostenibile e competitivo.</a:t>
          </a:r>
          <a:endParaRPr lang="it-IT" sz="1200" dirty="0"/>
        </a:p>
      </dgm:t>
    </dgm:pt>
    <dgm:pt modelId="{F6123F76-8FF7-4463-8CEE-C8A40899181C}" type="parTrans" cxnId="{5EEFEA46-8646-4EF8-BA22-B52C3C46C3A8}">
      <dgm:prSet/>
      <dgm:spPr/>
      <dgm:t>
        <a:bodyPr/>
        <a:lstStyle/>
        <a:p>
          <a:endParaRPr lang="it-IT"/>
        </a:p>
      </dgm:t>
    </dgm:pt>
    <dgm:pt modelId="{2B98C63B-F88F-4009-9A58-536635FED0B7}" type="sibTrans" cxnId="{5EEFEA46-8646-4EF8-BA22-B52C3C46C3A8}">
      <dgm:prSet/>
      <dgm:spPr/>
      <dgm:t>
        <a:bodyPr/>
        <a:lstStyle/>
        <a:p>
          <a:endParaRPr lang="it-IT"/>
        </a:p>
      </dgm:t>
    </dgm:pt>
    <dgm:pt modelId="{5B1ADE97-0EFD-443F-BDDA-A17CA93D895F}" type="pres">
      <dgm:prSet presAssocID="{92B05902-C5F1-4223-AAA7-07AB096152E3}" presName="vert0" presStyleCnt="0">
        <dgm:presLayoutVars>
          <dgm:dir/>
          <dgm:animOne val="branch"/>
          <dgm:animLvl val="lvl"/>
        </dgm:presLayoutVars>
      </dgm:prSet>
      <dgm:spPr/>
      <dgm:t>
        <a:bodyPr/>
        <a:lstStyle/>
        <a:p>
          <a:endParaRPr lang="it-IT"/>
        </a:p>
      </dgm:t>
    </dgm:pt>
    <dgm:pt modelId="{5FA48B48-7632-43BB-AD21-A9B783232D9F}" type="pres">
      <dgm:prSet presAssocID="{886B9852-1E45-4FA8-8D72-EC6FD7BD877D}" presName="thickLine" presStyleLbl="alignNode1" presStyleIdx="0" presStyleCnt="5"/>
      <dgm:spPr/>
    </dgm:pt>
    <dgm:pt modelId="{0067DFD7-83DB-4C1A-BDA2-D52B1D4B1414}" type="pres">
      <dgm:prSet presAssocID="{886B9852-1E45-4FA8-8D72-EC6FD7BD877D}" presName="horz1" presStyleCnt="0"/>
      <dgm:spPr/>
    </dgm:pt>
    <dgm:pt modelId="{30320ECF-7370-4D6E-A82C-02A7CC8DF0DE}" type="pres">
      <dgm:prSet presAssocID="{886B9852-1E45-4FA8-8D72-EC6FD7BD877D}" presName="tx1" presStyleLbl="revTx" presStyleIdx="0" presStyleCnt="5"/>
      <dgm:spPr/>
      <dgm:t>
        <a:bodyPr/>
        <a:lstStyle/>
        <a:p>
          <a:endParaRPr lang="it-IT"/>
        </a:p>
      </dgm:t>
    </dgm:pt>
    <dgm:pt modelId="{CB793E14-91F5-47B1-BDAA-C126A407C127}" type="pres">
      <dgm:prSet presAssocID="{886B9852-1E45-4FA8-8D72-EC6FD7BD877D}" presName="vert1" presStyleCnt="0"/>
      <dgm:spPr/>
    </dgm:pt>
    <dgm:pt modelId="{02B38A71-EDF3-4650-874F-EA74422B1B0E}" type="pres">
      <dgm:prSet presAssocID="{B06B7C0D-D83B-4FE9-9EDE-EBD24B0F5652}" presName="thickLine" presStyleLbl="alignNode1" presStyleIdx="1" presStyleCnt="5"/>
      <dgm:spPr/>
    </dgm:pt>
    <dgm:pt modelId="{ADD7A67A-54BE-47BF-85F0-DE15F570572E}" type="pres">
      <dgm:prSet presAssocID="{B06B7C0D-D83B-4FE9-9EDE-EBD24B0F5652}" presName="horz1" presStyleCnt="0"/>
      <dgm:spPr/>
    </dgm:pt>
    <dgm:pt modelId="{EFB7EE5D-489F-4364-9A05-057E639615B6}" type="pres">
      <dgm:prSet presAssocID="{B06B7C0D-D83B-4FE9-9EDE-EBD24B0F5652}" presName="tx1" presStyleLbl="revTx" presStyleIdx="1" presStyleCnt="5"/>
      <dgm:spPr/>
      <dgm:t>
        <a:bodyPr/>
        <a:lstStyle/>
        <a:p>
          <a:endParaRPr lang="it-IT"/>
        </a:p>
      </dgm:t>
    </dgm:pt>
    <dgm:pt modelId="{18088E33-DE51-425A-9CA8-C11BB76C12AB}" type="pres">
      <dgm:prSet presAssocID="{B06B7C0D-D83B-4FE9-9EDE-EBD24B0F5652}" presName="vert1" presStyleCnt="0"/>
      <dgm:spPr/>
    </dgm:pt>
    <dgm:pt modelId="{A6085C3A-DBDD-499C-8D95-570C21528597}" type="pres">
      <dgm:prSet presAssocID="{4149EA9E-1F37-478B-9B35-0D7297C1303D}" presName="thickLine" presStyleLbl="alignNode1" presStyleIdx="2" presStyleCnt="5"/>
      <dgm:spPr/>
    </dgm:pt>
    <dgm:pt modelId="{FC9ECBA1-C0F1-43AC-BDFD-9993D7BCDE58}" type="pres">
      <dgm:prSet presAssocID="{4149EA9E-1F37-478B-9B35-0D7297C1303D}" presName="horz1" presStyleCnt="0"/>
      <dgm:spPr/>
    </dgm:pt>
    <dgm:pt modelId="{E1FA4793-2095-4E5E-895E-6E3CDE2B65E9}" type="pres">
      <dgm:prSet presAssocID="{4149EA9E-1F37-478B-9B35-0D7297C1303D}" presName="tx1" presStyleLbl="revTx" presStyleIdx="2" presStyleCnt="5" custScaleY="83818"/>
      <dgm:spPr/>
      <dgm:t>
        <a:bodyPr/>
        <a:lstStyle/>
        <a:p>
          <a:endParaRPr lang="it-IT"/>
        </a:p>
      </dgm:t>
    </dgm:pt>
    <dgm:pt modelId="{9344737A-4DD6-41F5-86EC-187958FC72E5}" type="pres">
      <dgm:prSet presAssocID="{4149EA9E-1F37-478B-9B35-0D7297C1303D}" presName="vert1" presStyleCnt="0"/>
      <dgm:spPr/>
    </dgm:pt>
    <dgm:pt modelId="{79233FAB-15D9-4DF5-9D06-696C8EBF4B39}" type="pres">
      <dgm:prSet presAssocID="{02D50520-581B-48DB-A042-A181D262BD47}" presName="thickLine" presStyleLbl="alignNode1" presStyleIdx="3" presStyleCnt="5"/>
      <dgm:spPr/>
    </dgm:pt>
    <dgm:pt modelId="{CD893FD4-705C-43FF-A950-4D55FEA7007E}" type="pres">
      <dgm:prSet presAssocID="{02D50520-581B-48DB-A042-A181D262BD47}" presName="horz1" presStyleCnt="0"/>
      <dgm:spPr/>
    </dgm:pt>
    <dgm:pt modelId="{DC42ED90-86FD-48A3-A9FA-68AD0FC58FF1}" type="pres">
      <dgm:prSet presAssocID="{02D50520-581B-48DB-A042-A181D262BD47}" presName="tx1" presStyleLbl="revTx" presStyleIdx="3" presStyleCnt="5" custScaleY="77607"/>
      <dgm:spPr/>
      <dgm:t>
        <a:bodyPr/>
        <a:lstStyle/>
        <a:p>
          <a:endParaRPr lang="it-IT"/>
        </a:p>
      </dgm:t>
    </dgm:pt>
    <dgm:pt modelId="{2025584D-257E-4029-8874-BA7B181D43B3}" type="pres">
      <dgm:prSet presAssocID="{02D50520-581B-48DB-A042-A181D262BD47}" presName="vert1" presStyleCnt="0"/>
      <dgm:spPr/>
    </dgm:pt>
    <dgm:pt modelId="{8A686BE0-9964-4453-9216-5263077B4215}" type="pres">
      <dgm:prSet presAssocID="{98F87070-7E0F-4300-AD7B-1FBB013317CE}" presName="thickLine" presStyleLbl="alignNode1" presStyleIdx="4" presStyleCnt="5"/>
      <dgm:spPr/>
    </dgm:pt>
    <dgm:pt modelId="{F2E72759-494F-4F35-9D14-8D158345D45C}" type="pres">
      <dgm:prSet presAssocID="{98F87070-7E0F-4300-AD7B-1FBB013317CE}" presName="horz1" presStyleCnt="0"/>
      <dgm:spPr/>
    </dgm:pt>
    <dgm:pt modelId="{AA5E7E8B-82AC-4418-977C-9D1893799F1A}" type="pres">
      <dgm:prSet presAssocID="{98F87070-7E0F-4300-AD7B-1FBB013317CE}" presName="tx1" presStyleLbl="revTx" presStyleIdx="4" presStyleCnt="5"/>
      <dgm:spPr/>
      <dgm:t>
        <a:bodyPr/>
        <a:lstStyle/>
        <a:p>
          <a:endParaRPr lang="it-IT"/>
        </a:p>
      </dgm:t>
    </dgm:pt>
    <dgm:pt modelId="{FFFFA2AF-2DEA-4BFC-A0E5-3BFB1102A1C0}" type="pres">
      <dgm:prSet presAssocID="{98F87070-7E0F-4300-AD7B-1FBB013317CE}" presName="vert1" presStyleCnt="0"/>
      <dgm:spPr/>
    </dgm:pt>
  </dgm:ptLst>
  <dgm:cxnLst>
    <dgm:cxn modelId="{67D51F24-613E-47C6-B2E8-5274724B628F}" type="presOf" srcId="{4149EA9E-1F37-478B-9B35-0D7297C1303D}" destId="{E1FA4793-2095-4E5E-895E-6E3CDE2B65E9}" srcOrd="0" destOrd="0" presId="urn:microsoft.com/office/officeart/2008/layout/LinedList"/>
    <dgm:cxn modelId="{CF503CDB-881F-4F1D-9DC1-DE7FBDC38421}" type="presOf" srcId="{B06B7C0D-D83B-4FE9-9EDE-EBD24B0F5652}" destId="{EFB7EE5D-489F-4364-9A05-057E639615B6}" srcOrd="0" destOrd="0" presId="urn:microsoft.com/office/officeart/2008/layout/LinedList"/>
    <dgm:cxn modelId="{24BFA6DB-3441-4943-8FAE-01B9C939EADE}" type="presOf" srcId="{886B9852-1E45-4FA8-8D72-EC6FD7BD877D}" destId="{30320ECF-7370-4D6E-A82C-02A7CC8DF0DE}" srcOrd="0" destOrd="0" presId="urn:microsoft.com/office/officeart/2008/layout/LinedList"/>
    <dgm:cxn modelId="{D8A1F150-ABF3-4030-BC2E-2169199B7974}" type="presOf" srcId="{92B05902-C5F1-4223-AAA7-07AB096152E3}" destId="{5B1ADE97-0EFD-443F-BDDA-A17CA93D895F}" srcOrd="0" destOrd="0" presId="urn:microsoft.com/office/officeart/2008/layout/LinedList"/>
    <dgm:cxn modelId="{4AC8D368-00F7-4F07-A9A2-3E7393E7A5D4}" type="presOf" srcId="{98F87070-7E0F-4300-AD7B-1FBB013317CE}" destId="{AA5E7E8B-82AC-4418-977C-9D1893799F1A}" srcOrd="0" destOrd="0" presId="urn:microsoft.com/office/officeart/2008/layout/LinedList"/>
    <dgm:cxn modelId="{5EEFEA46-8646-4EF8-BA22-B52C3C46C3A8}" srcId="{92B05902-C5F1-4223-AAA7-07AB096152E3}" destId="{98F87070-7E0F-4300-AD7B-1FBB013317CE}" srcOrd="4" destOrd="0" parTransId="{F6123F76-8FF7-4463-8CEE-C8A40899181C}" sibTransId="{2B98C63B-F88F-4009-9A58-536635FED0B7}"/>
    <dgm:cxn modelId="{28C15BE4-0101-42D9-A1F9-6171646725A8}" srcId="{92B05902-C5F1-4223-AAA7-07AB096152E3}" destId="{886B9852-1E45-4FA8-8D72-EC6FD7BD877D}" srcOrd="0" destOrd="0" parTransId="{B8697152-C528-4B01-8B4B-130340EF7B04}" sibTransId="{FD7BD2D1-5CAF-4FB8-8B4F-ADA4B0CA2EF5}"/>
    <dgm:cxn modelId="{7B8C2C6E-2F49-4A24-A287-CF17BD24C069}" srcId="{92B05902-C5F1-4223-AAA7-07AB096152E3}" destId="{02D50520-581B-48DB-A042-A181D262BD47}" srcOrd="3" destOrd="0" parTransId="{EBECB527-966A-4300-80F7-75CFAFF08363}" sibTransId="{918E990D-9AB0-4F02-9D9B-C1987BAC04D4}"/>
    <dgm:cxn modelId="{1441E685-6AA9-4EF7-9F63-BE42A417D665}" type="presOf" srcId="{02D50520-581B-48DB-A042-A181D262BD47}" destId="{DC42ED90-86FD-48A3-A9FA-68AD0FC58FF1}" srcOrd="0" destOrd="0" presId="urn:microsoft.com/office/officeart/2008/layout/LinedList"/>
    <dgm:cxn modelId="{CDC80DA8-2B59-4756-BD69-2CD3D149E07C}" srcId="{92B05902-C5F1-4223-AAA7-07AB096152E3}" destId="{B06B7C0D-D83B-4FE9-9EDE-EBD24B0F5652}" srcOrd="1" destOrd="0" parTransId="{9588A0FD-EBCF-4ED9-B7B6-4322D54B7E8E}" sibTransId="{30E31622-5CDC-42BB-93EC-212493E5704B}"/>
    <dgm:cxn modelId="{F38250CD-ABD7-4A46-B0FB-90F5902AB984}" srcId="{92B05902-C5F1-4223-AAA7-07AB096152E3}" destId="{4149EA9E-1F37-478B-9B35-0D7297C1303D}" srcOrd="2" destOrd="0" parTransId="{2CE68ACD-94A4-4BFC-BFCD-2F6F60A06A60}" sibTransId="{0DAEC8E2-3633-46B6-BD76-98B2DDF3F525}"/>
    <dgm:cxn modelId="{4585A935-28CC-415E-A133-E55EB8EF2B23}" type="presParOf" srcId="{5B1ADE97-0EFD-443F-BDDA-A17CA93D895F}" destId="{5FA48B48-7632-43BB-AD21-A9B783232D9F}" srcOrd="0" destOrd="0" presId="urn:microsoft.com/office/officeart/2008/layout/LinedList"/>
    <dgm:cxn modelId="{BC6A2A87-D060-4472-A1C7-EA10F9998259}" type="presParOf" srcId="{5B1ADE97-0EFD-443F-BDDA-A17CA93D895F}" destId="{0067DFD7-83DB-4C1A-BDA2-D52B1D4B1414}" srcOrd="1" destOrd="0" presId="urn:microsoft.com/office/officeart/2008/layout/LinedList"/>
    <dgm:cxn modelId="{7B435726-161B-4430-8CC6-B91078D0AFF8}" type="presParOf" srcId="{0067DFD7-83DB-4C1A-BDA2-D52B1D4B1414}" destId="{30320ECF-7370-4D6E-A82C-02A7CC8DF0DE}" srcOrd="0" destOrd="0" presId="urn:microsoft.com/office/officeart/2008/layout/LinedList"/>
    <dgm:cxn modelId="{92529B55-82D7-459E-871A-9AA27345EFCC}" type="presParOf" srcId="{0067DFD7-83DB-4C1A-BDA2-D52B1D4B1414}" destId="{CB793E14-91F5-47B1-BDAA-C126A407C127}" srcOrd="1" destOrd="0" presId="urn:microsoft.com/office/officeart/2008/layout/LinedList"/>
    <dgm:cxn modelId="{2E3161E7-17DC-428D-A2F1-0F974015E8FD}" type="presParOf" srcId="{5B1ADE97-0EFD-443F-BDDA-A17CA93D895F}" destId="{02B38A71-EDF3-4650-874F-EA74422B1B0E}" srcOrd="2" destOrd="0" presId="urn:microsoft.com/office/officeart/2008/layout/LinedList"/>
    <dgm:cxn modelId="{0840D285-6001-4718-89B2-2D43C79772AE}" type="presParOf" srcId="{5B1ADE97-0EFD-443F-BDDA-A17CA93D895F}" destId="{ADD7A67A-54BE-47BF-85F0-DE15F570572E}" srcOrd="3" destOrd="0" presId="urn:microsoft.com/office/officeart/2008/layout/LinedList"/>
    <dgm:cxn modelId="{0E5A3F3A-FC86-42F1-8E3F-3EC94F41DD06}" type="presParOf" srcId="{ADD7A67A-54BE-47BF-85F0-DE15F570572E}" destId="{EFB7EE5D-489F-4364-9A05-057E639615B6}" srcOrd="0" destOrd="0" presId="urn:microsoft.com/office/officeart/2008/layout/LinedList"/>
    <dgm:cxn modelId="{56FCF65C-18AA-4057-87ED-67080A715930}" type="presParOf" srcId="{ADD7A67A-54BE-47BF-85F0-DE15F570572E}" destId="{18088E33-DE51-425A-9CA8-C11BB76C12AB}" srcOrd="1" destOrd="0" presId="urn:microsoft.com/office/officeart/2008/layout/LinedList"/>
    <dgm:cxn modelId="{A910469E-4F88-4C6F-8118-15AE28BFA367}" type="presParOf" srcId="{5B1ADE97-0EFD-443F-BDDA-A17CA93D895F}" destId="{A6085C3A-DBDD-499C-8D95-570C21528597}" srcOrd="4" destOrd="0" presId="urn:microsoft.com/office/officeart/2008/layout/LinedList"/>
    <dgm:cxn modelId="{38829E51-2880-4E4C-AB17-177121C1D3F6}" type="presParOf" srcId="{5B1ADE97-0EFD-443F-BDDA-A17CA93D895F}" destId="{FC9ECBA1-C0F1-43AC-BDFD-9993D7BCDE58}" srcOrd="5" destOrd="0" presId="urn:microsoft.com/office/officeart/2008/layout/LinedList"/>
    <dgm:cxn modelId="{61D6B0C4-C94F-4A0E-822E-9A200F7F927E}" type="presParOf" srcId="{FC9ECBA1-C0F1-43AC-BDFD-9993D7BCDE58}" destId="{E1FA4793-2095-4E5E-895E-6E3CDE2B65E9}" srcOrd="0" destOrd="0" presId="urn:microsoft.com/office/officeart/2008/layout/LinedList"/>
    <dgm:cxn modelId="{40F87339-92D2-473B-8FCD-351A33B30862}" type="presParOf" srcId="{FC9ECBA1-C0F1-43AC-BDFD-9993D7BCDE58}" destId="{9344737A-4DD6-41F5-86EC-187958FC72E5}" srcOrd="1" destOrd="0" presId="urn:microsoft.com/office/officeart/2008/layout/LinedList"/>
    <dgm:cxn modelId="{6AC8E815-CD83-43B4-97B7-B3A25FCFCBD8}" type="presParOf" srcId="{5B1ADE97-0EFD-443F-BDDA-A17CA93D895F}" destId="{79233FAB-15D9-4DF5-9D06-696C8EBF4B39}" srcOrd="6" destOrd="0" presId="urn:microsoft.com/office/officeart/2008/layout/LinedList"/>
    <dgm:cxn modelId="{1F81800E-D7E3-4ABE-882A-FB4357494BB5}" type="presParOf" srcId="{5B1ADE97-0EFD-443F-BDDA-A17CA93D895F}" destId="{CD893FD4-705C-43FF-A950-4D55FEA7007E}" srcOrd="7" destOrd="0" presId="urn:microsoft.com/office/officeart/2008/layout/LinedList"/>
    <dgm:cxn modelId="{59B01A99-703E-49F7-9BC2-343497F459A6}" type="presParOf" srcId="{CD893FD4-705C-43FF-A950-4D55FEA7007E}" destId="{DC42ED90-86FD-48A3-A9FA-68AD0FC58FF1}" srcOrd="0" destOrd="0" presId="urn:microsoft.com/office/officeart/2008/layout/LinedList"/>
    <dgm:cxn modelId="{C491CA75-E823-46DA-8404-CFEFE99A9FEF}" type="presParOf" srcId="{CD893FD4-705C-43FF-A950-4D55FEA7007E}" destId="{2025584D-257E-4029-8874-BA7B181D43B3}" srcOrd="1" destOrd="0" presId="urn:microsoft.com/office/officeart/2008/layout/LinedList"/>
    <dgm:cxn modelId="{2421425C-36F6-460C-A6E4-C4560DD16B69}" type="presParOf" srcId="{5B1ADE97-0EFD-443F-BDDA-A17CA93D895F}" destId="{8A686BE0-9964-4453-9216-5263077B4215}" srcOrd="8" destOrd="0" presId="urn:microsoft.com/office/officeart/2008/layout/LinedList"/>
    <dgm:cxn modelId="{7CE2E15C-FBCB-4CEA-8D83-3F3E86C5DF2C}" type="presParOf" srcId="{5B1ADE97-0EFD-443F-BDDA-A17CA93D895F}" destId="{F2E72759-494F-4F35-9D14-8D158345D45C}" srcOrd="9" destOrd="0" presId="urn:microsoft.com/office/officeart/2008/layout/LinedList"/>
    <dgm:cxn modelId="{866835B2-18D0-4FF8-B30B-B8E38F04E958}" type="presParOf" srcId="{F2E72759-494F-4F35-9D14-8D158345D45C}" destId="{AA5E7E8B-82AC-4418-977C-9D1893799F1A}" srcOrd="0" destOrd="0" presId="urn:microsoft.com/office/officeart/2008/layout/LinedList"/>
    <dgm:cxn modelId="{C9342D32-BB6F-4188-ABE5-18770AB8CA6A}" type="presParOf" srcId="{F2E72759-494F-4F35-9D14-8D158345D45C}" destId="{FFFFA2AF-2DEA-4BFC-A0E5-3BFB1102A1C0}"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8.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Lst>
  <dgm:cxnLst>
    <dgm:cxn modelId="{334F64D6-66B5-4DC6-BDE9-050F4C8CB712}" type="presOf" srcId="{188FD03C-7D6A-4D29-8FCB-9C1383057E36}" destId="{C08F212E-D010-4B1B-884C-243E8BB88BD2}" srcOrd="0"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09.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Indicazioni di priorità per RIS3</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21BA1506-B5AF-4E05-87D3-EE1996D157B5}" type="presOf" srcId="{72D59079-C521-4525-81A4-701D931A8233}" destId="{9CE9EFE3-4E69-404A-8A99-59388A9E3922}" srcOrd="0" destOrd="0" presId="urn:microsoft.com/office/officeart/2005/8/layout/chevronAccent+Icon"/>
    <dgm:cxn modelId="{A711C908-F4D7-449D-B918-A0453BAE7E08}" type="presOf" srcId="{9AF403A6-2C5C-4F1B-B787-47496D3DBC71}" destId="{639FA514-32E4-4E31-8688-3C040A3F30E9}" srcOrd="0" destOrd="0" presId="urn:microsoft.com/office/officeart/2005/8/layout/chevronAccent+Icon"/>
    <dgm:cxn modelId="{99588CF5-98C0-41FB-83EE-32C05D94F480}" type="presParOf" srcId="{639FA514-32E4-4E31-8688-3C040A3F30E9}" destId="{F100BA9B-D4E3-421F-B5D8-42E4C50A115C}" srcOrd="0" destOrd="0" presId="urn:microsoft.com/office/officeart/2005/8/layout/chevronAccent+Icon"/>
    <dgm:cxn modelId="{4BE3B9C6-94B9-4473-8341-B55B321BC572}" type="presParOf" srcId="{F100BA9B-D4E3-421F-B5D8-42E4C50A115C}" destId="{51AD98A5-0898-43D1-8FB1-9AA58104A73C}" srcOrd="0" destOrd="0" presId="urn:microsoft.com/office/officeart/2005/8/layout/chevronAccent+Icon"/>
    <dgm:cxn modelId="{089A33AC-3DE1-478A-8017-41B6E94839CA}"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3075584-0A09-4F92-A3EE-4594CC46FEDC}" type="doc">
      <dgm:prSet loTypeId="urn:microsoft.com/office/officeart/2008/layout/LinedList" loCatId="list" qsTypeId="urn:microsoft.com/office/officeart/2005/8/quickstyle/simple1#6" qsCatId="simple" csTypeId="urn:microsoft.com/office/officeart/2005/8/colors/accent2_5" csCatId="accent2" phldr="1"/>
      <dgm:spPr/>
      <dgm:t>
        <a:bodyPr/>
        <a:lstStyle/>
        <a:p>
          <a:endParaRPr lang="it-IT"/>
        </a:p>
      </dgm:t>
    </dgm:pt>
    <dgm:pt modelId="{4DBD1FB0-9DEC-4BF1-BDFE-C56F2660AE47}">
      <dgm:prSet custT="1"/>
      <dgm:spPr/>
      <dgm:t>
        <a:bodyPr/>
        <a:lstStyle/>
        <a:p>
          <a:pPr algn="just" rtl="0"/>
          <a:endParaRPr lang="it-IT" sz="1800" b="1" i="0" dirty="0">
            <a:solidFill>
              <a:srgbClr val="C00000"/>
            </a:solidFill>
          </a:endParaRPr>
        </a:p>
      </dgm:t>
    </dgm:pt>
    <dgm:pt modelId="{977500EF-1C8F-4ABA-A49C-70BA86BBB338}" type="parTrans" cxnId="{96C8A48C-C5AF-46B5-9B5D-144C81DD0D8F}">
      <dgm:prSet/>
      <dgm:spPr/>
      <dgm:t>
        <a:bodyPr/>
        <a:lstStyle/>
        <a:p>
          <a:pPr algn="l"/>
          <a:endParaRPr lang="it-IT"/>
        </a:p>
      </dgm:t>
    </dgm:pt>
    <dgm:pt modelId="{95AA54F3-60A7-4C69-9BA0-A132406858AF}" type="sibTrans" cxnId="{96C8A48C-C5AF-46B5-9B5D-144C81DD0D8F}">
      <dgm:prSet/>
      <dgm:spPr/>
      <dgm:t>
        <a:bodyPr/>
        <a:lstStyle/>
        <a:p>
          <a:pPr algn="l"/>
          <a:endParaRPr lang="it-IT"/>
        </a:p>
      </dgm:t>
    </dgm:pt>
    <dgm:pt modelId="{D7EA6325-6413-4438-83E4-6701E2C57717}" type="pres">
      <dgm:prSet presAssocID="{43075584-0A09-4F92-A3EE-4594CC46FEDC}" presName="vert0" presStyleCnt="0">
        <dgm:presLayoutVars>
          <dgm:dir/>
          <dgm:animOne val="branch"/>
          <dgm:animLvl val="lvl"/>
        </dgm:presLayoutVars>
      </dgm:prSet>
      <dgm:spPr/>
      <dgm:t>
        <a:bodyPr/>
        <a:lstStyle/>
        <a:p>
          <a:endParaRPr lang="it-IT"/>
        </a:p>
      </dgm:t>
    </dgm:pt>
    <dgm:pt modelId="{C53CC59A-ED65-4B0D-9470-3F18E593A142}" type="pres">
      <dgm:prSet presAssocID="{4DBD1FB0-9DEC-4BF1-BDFE-C56F2660AE47}" presName="thickLine" presStyleLbl="alignNode1" presStyleIdx="0" presStyleCnt="1"/>
      <dgm:spPr/>
    </dgm:pt>
    <dgm:pt modelId="{CCBE2F35-B449-4304-A4B7-EB4A0CE90FAA}" type="pres">
      <dgm:prSet presAssocID="{4DBD1FB0-9DEC-4BF1-BDFE-C56F2660AE47}" presName="horz1" presStyleCnt="0"/>
      <dgm:spPr/>
    </dgm:pt>
    <dgm:pt modelId="{2E4F97BB-80AE-4B89-8B32-FB05A53BD028}" type="pres">
      <dgm:prSet presAssocID="{4DBD1FB0-9DEC-4BF1-BDFE-C56F2660AE47}" presName="tx1" presStyleLbl="revTx" presStyleIdx="0" presStyleCnt="1" custLinFactNeighborY="-36433"/>
      <dgm:spPr/>
      <dgm:t>
        <a:bodyPr/>
        <a:lstStyle/>
        <a:p>
          <a:endParaRPr lang="it-IT"/>
        </a:p>
      </dgm:t>
    </dgm:pt>
    <dgm:pt modelId="{D1497074-FD56-4A1D-B803-63AFF8396209}" type="pres">
      <dgm:prSet presAssocID="{4DBD1FB0-9DEC-4BF1-BDFE-C56F2660AE47}" presName="vert1" presStyleCnt="0"/>
      <dgm:spPr/>
    </dgm:pt>
  </dgm:ptLst>
  <dgm:cxnLst>
    <dgm:cxn modelId="{2F0A2151-A105-4320-A974-1F5F29495B6C}" type="presOf" srcId="{4DBD1FB0-9DEC-4BF1-BDFE-C56F2660AE47}" destId="{2E4F97BB-80AE-4B89-8B32-FB05A53BD028}" srcOrd="0" destOrd="0" presId="urn:microsoft.com/office/officeart/2008/layout/LinedList"/>
    <dgm:cxn modelId="{96C8A48C-C5AF-46B5-9B5D-144C81DD0D8F}" srcId="{43075584-0A09-4F92-A3EE-4594CC46FEDC}" destId="{4DBD1FB0-9DEC-4BF1-BDFE-C56F2660AE47}" srcOrd="0" destOrd="0" parTransId="{977500EF-1C8F-4ABA-A49C-70BA86BBB338}" sibTransId="{95AA54F3-60A7-4C69-9BA0-A132406858AF}"/>
    <dgm:cxn modelId="{345C0991-9368-48D5-8FED-863B1668EEF8}" type="presOf" srcId="{43075584-0A09-4F92-A3EE-4594CC46FEDC}" destId="{D7EA6325-6413-4438-83E4-6701E2C57717}" srcOrd="0" destOrd="0" presId="urn:microsoft.com/office/officeart/2008/layout/LinedList"/>
    <dgm:cxn modelId="{BF557D84-0209-4C5D-A995-0DF04EE87C2D}" type="presParOf" srcId="{D7EA6325-6413-4438-83E4-6701E2C57717}" destId="{C53CC59A-ED65-4B0D-9470-3F18E593A142}" srcOrd="0" destOrd="0" presId="urn:microsoft.com/office/officeart/2008/layout/LinedList"/>
    <dgm:cxn modelId="{F3F846B6-FCAE-480D-9F5A-B16DC81C9775}" type="presParOf" srcId="{D7EA6325-6413-4438-83E4-6701E2C57717}" destId="{CCBE2F35-B449-4304-A4B7-EB4A0CE90FAA}" srcOrd="1" destOrd="0" presId="urn:microsoft.com/office/officeart/2008/layout/LinedList"/>
    <dgm:cxn modelId="{9D6027D0-1187-4FC9-897A-EBE2802CA18F}" type="presParOf" srcId="{CCBE2F35-B449-4304-A4B7-EB4A0CE90FAA}" destId="{2E4F97BB-80AE-4B89-8B32-FB05A53BD028}" srcOrd="0" destOrd="0" presId="urn:microsoft.com/office/officeart/2008/layout/LinedList"/>
    <dgm:cxn modelId="{919DDDE8-5FAB-4610-894E-7A67F9215FF1}" type="presParOf" srcId="{CCBE2F35-B449-4304-A4B7-EB4A0CE90FAA}" destId="{D1497074-FD56-4A1D-B803-63AFF8396209}"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0.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rtl="0"/>
          <a:r>
            <a:rPr lang="it-IT" sz="1200" b="1" dirty="0" smtClean="0">
              <a:effectLst>
                <a:outerShdw blurRad="38100" dist="38100" dir="2700000" algn="tl">
                  <a:srgbClr val="000000">
                    <a:alpha val="43137"/>
                  </a:srgbClr>
                </a:outerShdw>
              </a:effectLst>
            </a:rPr>
            <a:t>3. Sistema delle KETs</a:t>
          </a:r>
          <a:endParaRPr lang="it-IT" sz="12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custScaleX="127709" custScaleY="78457">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custScaleY="90321">
        <dgm:presLayoutVars>
          <dgm:bulletEnabled val="1"/>
        </dgm:presLayoutVars>
      </dgm:prSet>
      <dgm:spPr/>
    </dgm:pt>
  </dgm:ptLst>
  <dgm:cxnLst>
    <dgm:cxn modelId="{9039BDB0-E030-458E-B59E-59ECC75F1CAF}" type="presOf" srcId="{188FD03C-7D6A-4D29-8FCB-9C1383057E36}" destId="{C08F212E-D010-4B1B-884C-243E8BB88BD2}" srcOrd="0" destOrd="0" presId="urn:microsoft.com/office/officeart/2005/8/layout/list1"/>
    <dgm:cxn modelId="{37BEF91E-4B95-4CE3-AD76-789DCC4BEE18}" type="presOf" srcId="{E4C7AF03-E2BD-4E48-8DAB-C1261D3D7EA9}" destId="{03DB856F-DE91-4CA0-AD05-B356DE21BFDC}"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6DA2BBE8-2060-4899-B49B-0200DA81B8FF}" type="presOf" srcId="{E4C7AF03-E2BD-4E48-8DAB-C1261D3D7EA9}" destId="{21D380AD-5D38-4835-9FB5-615E5454C686}" srcOrd="1" destOrd="0" presId="urn:microsoft.com/office/officeart/2005/8/layout/list1"/>
    <dgm:cxn modelId="{263A58AC-18F9-494A-BD08-452C290D2DBC}" type="presParOf" srcId="{C08F212E-D010-4B1B-884C-243E8BB88BD2}" destId="{A042C0D5-6636-40E8-83EA-703099528EDB}" srcOrd="0" destOrd="0" presId="urn:microsoft.com/office/officeart/2005/8/layout/list1"/>
    <dgm:cxn modelId="{B38EACF6-2B21-4EA0-AE12-29502B71D5B1}" type="presParOf" srcId="{A042C0D5-6636-40E8-83EA-703099528EDB}" destId="{03DB856F-DE91-4CA0-AD05-B356DE21BFDC}" srcOrd="0" destOrd="0" presId="urn:microsoft.com/office/officeart/2005/8/layout/list1"/>
    <dgm:cxn modelId="{304E70C9-2148-4945-BBFD-51B656AC1F21}" type="presParOf" srcId="{A042C0D5-6636-40E8-83EA-703099528EDB}" destId="{21D380AD-5D38-4835-9FB5-615E5454C686}" srcOrd="1" destOrd="0" presId="urn:microsoft.com/office/officeart/2005/8/layout/list1"/>
    <dgm:cxn modelId="{41C2060D-4451-4254-B4AB-5DC04F5F0A3F}" type="presParOf" srcId="{C08F212E-D010-4B1B-884C-243E8BB88BD2}" destId="{E77B3B8A-36B6-4AF7-9D59-DF889FA8E07C}" srcOrd="1" destOrd="0" presId="urn:microsoft.com/office/officeart/2005/8/layout/list1"/>
    <dgm:cxn modelId="{7656A9D6-6C16-46AA-9ED9-B9E4F31A92B1}"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111.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algn="l" rtl="0"/>
          <a:r>
            <a:rPr lang="it-IT" sz="1200" b="1" dirty="0" smtClean="0">
              <a:effectLst>
                <a:outerShdw blurRad="38100" dist="38100" dir="2700000" algn="tl">
                  <a:srgbClr val="000000">
                    <a:alpha val="43137"/>
                  </a:srgbClr>
                </a:outerShdw>
              </a:effectLst>
            </a:rPr>
            <a:t>4. Ruolo dell’innovazione sociale</a:t>
          </a:r>
          <a:endParaRPr lang="it-IT" sz="12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custScaleX="142997" custScaleY="78457">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custScaleY="90321">
        <dgm:presLayoutVars>
          <dgm:bulletEnabled val="1"/>
        </dgm:presLayoutVars>
      </dgm:prSet>
      <dgm:spPr/>
    </dgm:pt>
  </dgm:ptLst>
  <dgm:cxnLst>
    <dgm:cxn modelId="{816F0AF1-722A-40FA-8DFE-CEA537977082}" type="presOf" srcId="{E4C7AF03-E2BD-4E48-8DAB-C1261D3D7EA9}" destId="{03DB856F-DE91-4CA0-AD05-B356DE21BFDC}" srcOrd="0" destOrd="0" presId="urn:microsoft.com/office/officeart/2005/8/layout/list1"/>
    <dgm:cxn modelId="{337B12D9-4F51-4B6E-AD31-BA24ECA104CF}" type="presOf" srcId="{188FD03C-7D6A-4D29-8FCB-9C1383057E36}" destId="{C08F212E-D010-4B1B-884C-243E8BB88BD2}"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A313EF5F-F030-4A7B-B96D-A4C5CC495A1B}" type="presOf" srcId="{E4C7AF03-E2BD-4E48-8DAB-C1261D3D7EA9}" destId="{21D380AD-5D38-4835-9FB5-615E5454C686}" srcOrd="1" destOrd="0" presId="urn:microsoft.com/office/officeart/2005/8/layout/list1"/>
    <dgm:cxn modelId="{9EC7BBE2-2FF3-4896-B0FD-4781FD77ECAA}" type="presParOf" srcId="{C08F212E-D010-4B1B-884C-243E8BB88BD2}" destId="{A042C0D5-6636-40E8-83EA-703099528EDB}" srcOrd="0" destOrd="0" presId="urn:microsoft.com/office/officeart/2005/8/layout/list1"/>
    <dgm:cxn modelId="{DDA7A40A-D0EB-4870-9CC3-141E9DF4DB11}" type="presParOf" srcId="{A042C0D5-6636-40E8-83EA-703099528EDB}" destId="{03DB856F-DE91-4CA0-AD05-B356DE21BFDC}" srcOrd="0" destOrd="0" presId="urn:microsoft.com/office/officeart/2005/8/layout/list1"/>
    <dgm:cxn modelId="{C371FF95-905D-4587-8B4E-7F7EBD2FB04B}" type="presParOf" srcId="{A042C0D5-6636-40E8-83EA-703099528EDB}" destId="{21D380AD-5D38-4835-9FB5-615E5454C686}" srcOrd="1" destOrd="0" presId="urn:microsoft.com/office/officeart/2005/8/layout/list1"/>
    <dgm:cxn modelId="{1632FF67-6557-4E0D-9379-36AAAE56C4AC}" type="presParOf" srcId="{C08F212E-D010-4B1B-884C-243E8BB88BD2}" destId="{E77B3B8A-36B6-4AF7-9D59-DF889FA8E07C}" srcOrd="1" destOrd="0" presId="urn:microsoft.com/office/officeart/2005/8/layout/list1"/>
    <dgm:cxn modelId="{700634CF-0F94-4574-9AFD-C1685562F7FC}"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112.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algn="l" rtl="0"/>
          <a:r>
            <a:rPr lang="it-IT" sz="1200" b="1" dirty="0" smtClean="0">
              <a:effectLst>
                <a:outerShdw blurRad="38100" dist="38100" dir="2700000" algn="tl">
                  <a:srgbClr val="000000">
                    <a:alpha val="43137"/>
                  </a:srgbClr>
                </a:outerShdw>
              </a:effectLst>
            </a:rPr>
            <a:t>5. Intersezione con altri ambiti tecnologici e produttivi</a:t>
          </a:r>
          <a:endParaRPr lang="it-IT" sz="1200" b="1"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custScaleX="127709" custScaleY="78457">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custScaleY="90321">
        <dgm:presLayoutVars>
          <dgm:bulletEnabled val="1"/>
        </dgm:presLayoutVars>
      </dgm:prSet>
      <dgm:spPr/>
    </dgm:pt>
  </dgm:ptLst>
  <dgm:cxnLst>
    <dgm:cxn modelId="{56ED02F4-175B-49B1-A66E-A22285B87538}" type="presOf" srcId="{E4C7AF03-E2BD-4E48-8DAB-C1261D3D7EA9}" destId="{21D380AD-5D38-4835-9FB5-615E5454C686}" srcOrd="1" destOrd="0" presId="urn:microsoft.com/office/officeart/2005/8/layout/list1"/>
    <dgm:cxn modelId="{FED19406-5C04-4B6E-A3C5-84497A6ECA28}" type="presOf" srcId="{E4C7AF03-E2BD-4E48-8DAB-C1261D3D7EA9}" destId="{03DB856F-DE91-4CA0-AD05-B356DE21BFDC}" srcOrd="0" destOrd="0" presId="urn:microsoft.com/office/officeart/2005/8/layout/list1"/>
    <dgm:cxn modelId="{55EC90FB-634F-4EA9-BA32-0E60F99CAFB1}" type="presOf" srcId="{188FD03C-7D6A-4D29-8FCB-9C1383057E36}" destId="{C08F212E-D010-4B1B-884C-243E8BB88BD2}"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655A8B66-6695-466A-8F9F-A106EAECE4D8}" type="presParOf" srcId="{C08F212E-D010-4B1B-884C-243E8BB88BD2}" destId="{A042C0D5-6636-40E8-83EA-703099528EDB}" srcOrd="0" destOrd="0" presId="urn:microsoft.com/office/officeart/2005/8/layout/list1"/>
    <dgm:cxn modelId="{699A5D0C-F6E5-4FD5-B5F9-BE8737E78013}" type="presParOf" srcId="{A042C0D5-6636-40E8-83EA-703099528EDB}" destId="{03DB856F-DE91-4CA0-AD05-B356DE21BFDC}" srcOrd="0" destOrd="0" presId="urn:microsoft.com/office/officeart/2005/8/layout/list1"/>
    <dgm:cxn modelId="{6FBDD368-C0B2-4F48-A5E6-D7E749CAB2D8}" type="presParOf" srcId="{A042C0D5-6636-40E8-83EA-703099528EDB}" destId="{21D380AD-5D38-4835-9FB5-615E5454C686}" srcOrd="1" destOrd="0" presId="urn:microsoft.com/office/officeart/2005/8/layout/list1"/>
    <dgm:cxn modelId="{319CBFF6-CA8E-4489-9EEB-E5C085A2C806}" type="presParOf" srcId="{C08F212E-D010-4B1B-884C-243E8BB88BD2}" destId="{E77B3B8A-36B6-4AF7-9D59-DF889FA8E07C}" srcOrd="1" destOrd="0" presId="urn:microsoft.com/office/officeart/2005/8/layout/list1"/>
    <dgm:cxn modelId="{FA52AF8F-EE6E-4E65-8935-E467FD8EF0A6}"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31" minVer="http://schemas.openxmlformats.org/drawingml/2006/diagram"/>
    </a:ext>
  </dgm:extLst>
</dgm:dataModel>
</file>

<file path=ppt/diagrams/data113.xml><?xml version="1.0" encoding="utf-8"?>
<dgm:dataModel xmlns:dgm="http://schemas.openxmlformats.org/drawingml/2006/diagram" xmlns:a="http://schemas.openxmlformats.org/drawingml/2006/main">
  <dgm:ptLst>
    <dgm:pt modelId="{92B05902-C5F1-4223-AAA7-07AB096152E3}" type="doc">
      <dgm:prSet loTypeId="urn:microsoft.com/office/officeart/2008/layout/LinedList" loCatId="list" qsTypeId="urn:microsoft.com/office/officeart/2005/8/quickstyle/simple1" qsCatId="simple" csTypeId="urn:microsoft.com/office/officeart/2005/8/colors/accent6_1" csCatId="accent6" phldr="1"/>
      <dgm:spPr/>
      <dgm:t>
        <a:bodyPr/>
        <a:lstStyle/>
        <a:p>
          <a:endParaRPr lang="it-IT"/>
        </a:p>
      </dgm:t>
    </dgm:pt>
    <dgm:pt modelId="{886B9852-1E45-4FA8-8D72-EC6FD7BD877D}">
      <dgm:prSet custT="1"/>
      <dgm:spPr/>
      <dgm:t>
        <a:bodyPr/>
        <a:lstStyle/>
        <a:p>
          <a:pPr rtl="0"/>
          <a:r>
            <a:rPr lang="it-IT" sz="1400" b="1" dirty="0" smtClean="0"/>
            <a:t>Rendere disponibili strutture, attrezzature e Facilities nuove ed esistenti e promuovere lo scambio dei ricercatori tra le varie strutture coinvolte e tra mondo della ricerca e impresa</a:t>
          </a:r>
          <a:endParaRPr lang="it-IT" sz="1400" b="1" dirty="0"/>
        </a:p>
      </dgm:t>
    </dgm:pt>
    <dgm:pt modelId="{B8697152-C528-4B01-8B4B-130340EF7B04}" type="parTrans" cxnId="{28C15BE4-0101-42D9-A1F9-6171646725A8}">
      <dgm:prSet/>
      <dgm:spPr/>
      <dgm:t>
        <a:bodyPr/>
        <a:lstStyle/>
        <a:p>
          <a:endParaRPr lang="it-IT"/>
        </a:p>
      </dgm:t>
    </dgm:pt>
    <dgm:pt modelId="{FD7BD2D1-5CAF-4FB8-8B4F-ADA4B0CA2EF5}" type="sibTrans" cxnId="{28C15BE4-0101-42D9-A1F9-6171646725A8}">
      <dgm:prSet/>
      <dgm:spPr/>
      <dgm:t>
        <a:bodyPr/>
        <a:lstStyle/>
        <a:p>
          <a:endParaRPr lang="it-IT"/>
        </a:p>
      </dgm:t>
    </dgm:pt>
    <dgm:pt modelId="{B06B7C0D-D83B-4FE9-9EDE-EBD24B0F5652}">
      <dgm:prSet custT="1"/>
      <dgm:spPr/>
      <dgm:t>
        <a:bodyPr/>
        <a:lstStyle/>
        <a:p>
          <a:pPr rtl="0"/>
          <a:r>
            <a:rPr lang="it-IT" sz="1400" b="1" dirty="0" smtClean="0"/>
            <a:t>Aumentare la velocità e la qualità nella produzione e trasmissione della conoscenza verso le imprese del territorio;</a:t>
          </a:r>
          <a:endParaRPr lang="it-IT" sz="1400" b="1" dirty="0"/>
        </a:p>
      </dgm:t>
    </dgm:pt>
    <dgm:pt modelId="{9588A0FD-EBCF-4ED9-B7B6-4322D54B7E8E}" type="parTrans" cxnId="{CDC80DA8-2B59-4756-BD69-2CD3D149E07C}">
      <dgm:prSet/>
      <dgm:spPr/>
      <dgm:t>
        <a:bodyPr/>
        <a:lstStyle/>
        <a:p>
          <a:endParaRPr lang="it-IT"/>
        </a:p>
      </dgm:t>
    </dgm:pt>
    <dgm:pt modelId="{30E31622-5CDC-42BB-93EC-212493E5704B}" type="sibTrans" cxnId="{CDC80DA8-2B59-4756-BD69-2CD3D149E07C}">
      <dgm:prSet/>
      <dgm:spPr/>
      <dgm:t>
        <a:bodyPr/>
        <a:lstStyle/>
        <a:p>
          <a:endParaRPr lang="it-IT"/>
        </a:p>
      </dgm:t>
    </dgm:pt>
    <dgm:pt modelId="{4149EA9E-1F37-478B-9B35-0D7297C1303D}">
      <dgm:prSet custT="1"/>
      <dgm:spPr/>
      <dgm:t>
        <a:bodyPr/>
        <a:lstStyle/>
        <a:p>
          <a:pPr rtl="0"/>
          <a:r>
            <a:rPr lang="it-IT" sz="1400" b="1" dirty="0" smtClean="0"/>
            <a:t>Creare valore aggiunto rispetto alle eccellenze dei singoli componenti del distretto tecnologico mediante la messa in rete di laboratori, centri di ricerca e centri di formazione operanti nel territorio regionale.</a:t>
          </a:r>
          <a:endParaRPr lang="it-IT" sz="1400" b="1" dirty="0"/>
        </a:p>
      </dgm:t>
    </dgm:pt>
    <dgm:pt modelId="{2CE68ACD-94A4-4BFC-BFCD-2F6F60A06A60}" type="parTrans" cxnId="{F38250CD-ABD7-4A46-B0FB-90F5902AB984}">
      <dgm:prSet/>
      <dgm:spPr/>
      <dgm:t>
        <a:bodyPr/>
        <a:lstStyle/>
        <a:p>
          <a:endParaRPr lang="it-IT"/>
        </a:p>
      </dgm:t>
    </dgm:pt>
    <dgm:pt modelId="{0DAEC8E2-3633-46B6-BD76-98B2DDF3F525}" type="sibTrans" cxnId="{F38250CD-ABD7-4A46-B0FB-90F5902AB984}">
      <dgm:prSet/>
      <dgm:spPr/>
      <dgm:t>
        <a:bodyPr/>
        <a:lstStyle/>
        <a:p>
          <a:endParaRPr lang="it-IT"/>
        </a:p>
      </dgm:t>
    </dgm:pt>
    <dgm:pt modelId="{02D50520-581B-48DB-A042-A181D262BD47}">
      <dgm:prSet custT="1"/>
      <dgm:spPr/>
      <dgm:t>
        <a:bodyPr/>
        <a:lstStyle/>
        <a:p>
          <a:pPr rtl="0"/>
          <a:r>
            <a:rPr lang="it-IT" sz="1400" b="1" dirty="0" smtClean="0"/>
            <a:t>esplorare il potenziale (attualmente la Sicilia risulta scarsamente specializzata rispetto ad altre regioni italiane) collegato alle industrie culturali e creatrici ai fini dell’innovazione del modello tradizionale di offerta turistico-culturale. </a:t>
          </a:r>
          <a:endParaRPr lang="it-IT" sz="1400" b="1" dirty="0"/>
        </a:p>
      </dgm:t>
    </dgm:pt>
    <dgm:pt modelId="{EBECB527-966A-4300-80F7-75CFAFF08363}" type="parTrans" cxnId="{7B8C2C6E-2F49-4A24-A287-CF17BD24C069}">
      <dgm:prSet/>
      <dgm:spPr/>
      <dgm:t>
        <a:bodyPr/>
        <a:lstStyle/>
        <a:p>
          <a:endParaRPr lang="it-IT"/>
        </a:p>
      </dgm:t>
    </dgm:pt>
    <dgm:pt modelId="{918E990D-9AB0-4F02-9D9B-C1987BAC04D4}" type="sibTrans" cxnId="{7B8C2C6E-2F49-4A24-A287-CF17BD24C069}">
      <dgm:prSet/>
      <dgm:spPr/>
      <dgm:t>
        <a:bodyPr/>
        <a:lstStyle/>
        <a:p>
          <a:endParaRPr lang="it-IT"/>
        </a:p>
      </dgm:t>
    </dgm:pt>
    <dgm:pt modelId="{5B1ADE97-0EFD-443F-BDDA-A17CA93D895F}" type="pres">
      <dgm:prSet presAssocID="{92B05902-C5F1-4223-AAA7-07AB096152E3}" presName="vert0" presStyleCnt="0">
        <dgm:presLayoutVars>
          <dgm:dir/>
          <dgm:animOne val="branch"/>
          <dgm:animLvl val="lvl"/>
        </dgm:presLayoutVars>
      </dgm:prSet>
      <dgm:spPr/>
      <dgm:t>
        <a:bodyPr/>
        <a:lstStyle/>
        <a:p>
          <a:endParaRPr lang="it-IT"/>
        </a:p>
      </dgm:t>
    </dgm:pt>
    <dgm:pt modelId="{5FA48B48-7632-43BB-AD21-A9B783232D9F}" type="pres">
      <dgm:prSet presAssocID="{886B9852-1E45-4FA8-8D72-EC6FD7BD877D}" presName="thickLine" presStyleLbl="alignNode1" presStyleIdx="0" presStyleCnt="4"/>
      <dgm:spPr/>
    </dgm:pt>
    <dgm:pt modelId="{0067DFD7-83DB-4C1A-BDA2-D52B1D4B1414}" type="pres">
      <dgm:prSet presAssocID="{886B9852-1E45-4FA8-8D72-EC6FD7BD877D}" presName="horz1" presStyleCnt="0"/>
      <dgm:spPr/>
    </dgm:pt>
    <dgm:pt modelId="{30320ECF-7370-4D6E-A82C-02A7CC8DF0DE}" type="pres">
      <dgm:prSet presAssocID="{886B9852-1E45-4FA8-8D72-EC6FD7BD877D}" presName="tx1" presStyleLbl="revTx" presStyleIdx="0" presStyleCnt="4" custScaleY="47017"/>
      <dgm:spPr/>
      <dgm:t>
        <a:bodyPr/>
        <a:lstStyle/>
        <a:p>
          <a:endParaRPr lang="it-IT"/>
        </a:p>
      </dgm:t>
    </dgm:pt>
    <dgm:pt modelId="{CB793E14-91F5-47B1-BDAA-C126A407C127}" type="pres">
      <dgm:prSet presAssocID="{886B9852-1E45-4FA8-8D72-EC6FD7BD877D}" presName="vert1" presStyleCnt="0"/>
      <dgm:spPr/>
    </dgm:pt>
    <dgm:pt modelId="{02B38A71-EDF3-4650-874F-EA74422B1B0E}" type="pres">
      <dgm:prSet presAssocID="{B06B7C0D-D83B-4FE9-9EDE-EBD24B0F5652}" presName="thickLine" presStyleLbl="alignNode1" presStyleIdx="1" presStyleCnt="4"/>
      <dgm:spPr/>
    </dgm:pt>
    <dgm:pt modelId="{ADD7A67A-54BE-47BF-85F0-DE15F570572E}" type="pres">
      <dgm:prSet presAssocID="{B06B7C0D-D83B-4FE9-9EDE-EBD24B0F5652}" presName="horz1" presStyleCnt="0"/>
      <dgm:spPr/>
    </dgm:pt>
    <dgm:pt modelId="{EFB7EE5D-489F-4364-9A05-057E639615B6}" type="pres">
      <dgm:prSet presAssocID="{B06B7C0D-D83B-4FE9-9EDE-EBD24B0F5652}" presName="tx1" presStyleLbl="revTx" presStyleIdx="1" presStyleCnt="4" custScaleY="37668"/>
      <dgm:spPr/>
      <dgm:t>
        <a:bodyPr/>
        <a:lstStyle/>
        <a:p>
          <a:endParaRPr lang="it-IT"/>
        </a:p>
      </dgm:t>
    </dgm:pt>
    <dgm:pt modelId="{18088E33-DE51-425A-9CA8-C11BB76C12AB}" type="pres">
      <dgm:prSet presAssocID="{B06B7C0D-D83B-4FE9-9EDE-EBD24B0F5652}" presName="vert1" presStyleCnt="0"/>
      <dgm:spPr/>
    </dgm:pt>
    <dgm:pt modelId="{A6085C3A-DBDD-499C-8D95-570C21528597}" type="pres">
      <dgm:prSet presAssocID="{4149EA9E-1F37-478B-9B35-0D7297C1303D}" presName="thickLine" presStyleLbl="alignNode1" presStyleIdx="2" presStyleCnt="4"/>
      <dgm:spPr/>
    </dgm:pt>
    <dgm:pt modelId="{FC9ECBA1-C0F1-43AC-BDFD-9993D7BCDE58}" type="pres">
      <dgm:prSet presAssocID="{4149EA9E-1F37-478B-9B35-0D7297C1303D}" presName="horz1" presStyleCnt="0"/>
      <dgm:spPr/>
    </dgm:pt>
    <dgm:pt modelId="{E1FA4793-2095-4E5E-895E-6E3CDE2B65E9}" type="pres">
      <dgm:prSet presAssocID="{4149EA9E-1F37-478B-9B35-0D7297C1303D}" presName="tx1" presStyleLbl="revTx" presStyleIdx="2" presStyleCnt="4" custScaleY="47576"/>
      <dgm:spPr/>
      <dgm:t>
        <a:bodyPr/>
        <a:lstStyle/>
        <a:p>
          <a:endParaRPr lang="it-IT"/>
        </a:p>
      </dgm:t>
    </dgm:pt>
    <dgm:pt modelId="{9344737A-4DD6-41F5-86EC-187958FC72E5}" type="pres">
      <dgm:prSet presAssocID="{4149EA9E-1F37-478B-9B35-0D7297C1303D}" presName="vert1" presStyleCnt="0"/>
      <dgm:spPr/>
    </dgm:pt>
    <dgm:pt modelId="{79233FAB-15D9-4DF5-9D06-696C8EBF4B39}" type="pres">
      <dgm:prSet presAssocID="{02D50520-581B-48DB-A042-A181D262BD47}" presName="thickLine" presStyleLbl="alignNode1" presStyleIdx="3" presStyleCnt="4"/>
      <dgm:spPr/>
    </dgm:pt>
    <dgm:pt modelId="{CD893FD4-705C-43FF-A950-4D55FEA7007E}" type="pres">
      <dgm:prSet presAssocID="{02D50520-581B-48DB-A042-A181D262BD47}" presName="horz1" presStyleCnt="0"/>
      <dgm:spPr/>
    </dgm:pt>
    <dgm:pt modelId="{DC42ED90-86FD-48A3-A9FA-68AD0FC58FF1}" type="pres">
      <dgm:prSet presAssocID="{02D50520-581B-48DB-A042-A181D262BD47}" presName="tx1" presStyleLbl="revTx" presStyleIdx="3" presStyleCnt="4" custScaleY="50689"/>
      <dgm:spPr/>
      <dgm:t>
        <a:bodyPr/>
        <a:lstStyle/>
        <a:p>
          <a:endParaRPr lang="it-IT"/>
        </a:p>
      </dgm:t>
    </dgm:pt>
    <dgm:pt modelId="{2025584D-257E-4029-8874-BA7B181D43B3}" type="pres">
      <dgm:prSet presAssocID="{02D50520-581B-48DB-A042-A181D262BD47}" presName="vert1" presStyleCnt="0"/>
      <dgm:spPr/>
    </dgm:pt>
  </dgm:ptLst>
  <dgm:cxnLst>
    <dgm:cxn modelId="{665E98BF-F540-4F6B-946B-2E0A437994E0}" type="presOf" srcId="{02D50520-581B-48DB-A042-A181D262BD47}" destId="{DC42ED90-86FD-48A3-A9FA-68AD0FC58FF1}" srcOrd="0" destOrd="0" presId="urn:microsoft.com/office/officeart/2008/layout/LinedList"/>
    <dgm:cxn modelId="{36F0797B-023E-4288-9323-F4027FBE9AB5}" type="presOf" srcId="{4149EA9E-1F37-478B-9B35-0D7297C1303D}" destId="{E1FA4793-2095-4E5E-895E-6E3CDE2B65E9}" srcOrd="0" destOrd="0" presId="urn:microsoft.com/office/officeart/2008/layout/LinedList"/>
    <dgm:cxn modelId="{28C15BE4-0101-42D9-A1F9-6171646725A8}" srcId="{92B05902-C5F1-4223-AAA7-07AB096152E3}" destId="{886B9852-1E45-4FA8-8D72-EC6FD7BD877D}" srcOrd="0" destOrd="0" parTransId="{B8697152-C528-4B01-8B4B-130340EF7B04}" sibTransId="{FD7BD2D1-5CAF-4FB8-8B4F-ADA4B0CA2EF5}"/>
    <dgm:cxn modelId="{7B8C2C6E-2F49-4A24-A287-CF17BD24C069}" srcId="{92B05902-C5F1-4223-AAA7-07AB096152E3}" destId="{02D50520-581B-48DB-A042-A181D262BD47}" srcOrd="3" destOrd="0" parTransId="{EBECB527-966A-4300-80F7-75CFAFF08363}" sibTransId="{918E990D-9AB0-4F02-9D9B-C1987BAC04D4}"/>
    <dgm:cxn modelId="{CCFC7C00-25C1-48B9-9B0D-BF668FBCCE33}" type="presOf" srcId="{92B05902-C5F1-4223-AAA7-07AB096152E3}" destId="{5B1ADE97-0EFD-443F-BDDA-A17CA93D895F}" srcOrd="0" destOrd="0" presId="urn:microsoft.com/office/officeart/2008/layout/LinedList"/>
    <dgm:cxn modelId="{CDC80DA8-2B59-4756-BD69-2CD3D149E07C}" srcId="{92B05902-C5F1-4223-AAA7-07AB096152E3}" destId="{B06B7C0D-D83B-4FE9-9EDE-EBD24B0F5652}" srcOrd="1" destOrd="0" parTransId="{9588A0FD-EBCF-4ED9-B7B6-4322D54B7E8E}" sibTransId="{30E31622-5CDC-42BB-93EC-212493E5704B}"/>
    <dgm:cxn modelId="{E0E66B08-0A5D-4540-BE89-E489E268E6FB}" type="presOf" srcId="{B06B7C0D-D83B-4FE9-9EDE-EBD24B0F5652}" destId="{EFB7EE5D-489F-4364-9A05-057E639615B6}" srcOrd="0" destOrd="0" presId="urn:microsoft.com/office/officeart/2008/layout/LinedList"/>
    <dgm:cxn modelId="{F38250CD-ABD7-4A46-B0FB-90F5902AB984}" srcId="{92B05902-C5F1-4223-AAA7-07AB096152E3}" destId="{4149EA9E-1F37-478B-9B35-0D7297C1303D}" srcOrd="2" destOrd="0" parTransId="{2CE68ACD-94A4-4BFC-BFCD-2F6F60A06A60}" sibTransId="{0DAEC8E2-3633-46B6-BD76-98B2DDF3F525}"/>
    <dgm:cxn modelId="{20304F31-323E-4CDA-9FB9-CD2ECBE7D1FC}" type="presOf" srcId="{886B9852-1E45-4FA8-8D72-EC6FD7BD877D}" destId="{30320ECF-7370-4D6E-A82C-02A7CC8DF0DE}" srcOrd="0" destOrd="0" presId="urn:microsoft.com/office/officeart/2008/layout/LinedList"/>
    <dgm:cxn modelId="{EAF7D802-DFCF-4791-84BE-9C460F2F9234}" type="presParOf" srcId="{5B1ADE97-0EFD-443F-BDDA-A17CA93D895F}" destId="{5FA48B48-7632-43BB-AD21-A9B783232D9F}" srcOrd="0" destOrd="0" presId="urn:microsoft.com/office/officeart/2008/layout/LinedList"/>
    <dgm:cxn modelId="{82190062-629C-4983-B34C-8027EB90151F}" type="presParOf" srcId="{5B1ADE97-0EFD-443F-BDDA-A17CA93D895F}" destId="{0067DFD7-83DB-4C1A-BDA2-D52B1D4B1414}" srcOrd="1" destOrd="0" presId="urn:microsoft.com/office/officeart/2008/layout/LinedList"/>
    <dgm:cxn modelId="{4B642D6D-517D-4428-B147-7D7B959308BC}" type="presParOf" srcId="{0067DFD7-83DB-4C1A-BDA2-D52B1D4B1414}" destId="{30320ECF-7370-4D6E-A82C-02A7CC8DF0DE}" srcOrd="0" destOrd="0" presId="urn:microsoft.com/office/officeart/2008/layout/LinedList"/>
    <dgm:cxn modelId="{9EF980A4-5F8C-4E41-804C-460E1DC38847}" type="presParOf" srcId="{0067DFD7-83DB-4C1A-BDA2-D52B1D4B1414}" destId="{CB793E14-91F5-47B1-BDAA-C126A407C127}" srcOrd="1" destOrd="0" presId="urn:microsoft.com/office/officeart/2008/layout/LinedList"/>
    <dgm:cxn modelId="{B62E3E23-6D98-4E87-AD79-45E7EEB32E3A}" type="presParOf" srcId="{5B1ADE97-0EFD-443F-BDDA-A17CA93D895F}" destId="{02B38A71-EDF3-4650-874F-EA74422B1B0E}" srcOrd="2" destOrd="0" presId="urn:microsoft.com/office/officeart/2008/layout/LinedList"/>
    <dgm:cxn modelId="{333610F3-AC65-4F41-8A08-A32815F5B5BF}" type="presParOf" srcId="{5B1ADE97-0EFD-443F-BDDA-A17CA93D895F}" destId="{ADD7A67A-54BE-47BF-85F0-DE15F570572E}" srcOrd="3" destOrd="0" presId="urn:microsoft.com/office/officeart/2008/layout/LinedList"/>
    <dgm:cxn modelId="{95AFAA4B-D34D-4F37-85D5-AAD92AE0E89F}" type="presParOf" srcId="{ADD7A67A-54BE-47BF-85F0-DE15F570572E}" destId="{EFB7EE5D-489F-4364-9A05-057E639615B6}" srcOrd="0" destOrd="0" presId="urn:microsoft.com/office/officeart/2008/layout/LinedList"/>
    <dgm:cxn modelId="{C3A8EBD1-C5CC-4EDE-8E65-1C292D217C37}" type="presParOf" srcId="{ADD7A67A-54BE-47BF-85F0-DE15F570572E}" destId="{18088E33-DE51-425A-9CA8-C11BB76C12AB}" srcOrd="1" destOrd="0" presId="urn:microsoft.com/office/officeart/2008/layout/LinedList"/>
    <dgm:cxn modelId="{ABECE605-2C4C-40C8-B9FD-DB82AFE1D5C2}" type="presParOf" srcId="{5B1ADE97-0EFD-443F-BDDA-A17CA93D895F}" destId="{A6085C3A-DBDD-499C-8D95-570C21528597}" srcOrd="4" destOrd="0" presId="urn:microsoft.com/office/officeart/2008/layout/LinedList"/>
    <dgm:cxn modelId="{1AAC0F3B-B18D-4B1D-A682-E62A820B3AE0}" type="presParOf" srcId="{5B1ADE97-0EFD-443F-BDDA-A17CA93D895F}" destId="{FC9ECBA1-C0F1-43AC-BDFD-9993D7BCDE58}" srcOrd="5" destOrd="0" presId="urn:microsoft.com/office/officeart/2008/layout/LinedList"/>
    <dgm:cxn modelId="{9CBCAFD9-A60F-4C6D-ADB0-D7BC32A040BD}" type="presParOf" srcId="{FC9ECBA1-C0F1-43AC-BDFD-9993D7BCDE58}" destId="{E1FA4793-2095-4E5E-895E-6E3CDE2B65E9}" srcOrd="0" destOrd="0" presId="urn:microsoft.com/office/officeart/2008/layout/LinedList"/>
    <dgm:cxn modelId="{6361059D-A9A3-4FC9-B4B4-056097BF7F5A}" type="presParOf" srcId="{FC9ECBA1-C0F1-43AC-BDFD-9993D7BCDE58}" destId="{9344737A-4DD6-41F5-86EC-187958FC72E5}" srcOrd="1" destOrd="0" presId="urn:microsoft.com/office/officeart/2008/layout/LinedList"/>
    <dgm:cxn modelId="{81A51D79-BBCA-43EF-A3D8-BA13484F6E24}" type="presParOf" srcId="{5B1ADE97-0EFD-443F-BDDA-A17CA93D895F}" destId="{79233FAB-15D9-4DF5-9D06-696C8EBF4B39}" srcOrd="6" destOrd="0" presId="urn:microsoft.com/office/officeart/2008/layout/LinedList"/>
    <dgm:cxn modelId="{43432E61-91A9-4C51-A0C5-93AE9BC1BED6}" type="presParOf" srcId="{5B1ADE97-0EFD-443F-BDDA-A17CA93D895F}" destId="{CD893FD4-705C-43FF-A950-4D55FEA7007E}" srcOrd="7" destOrd="0" presId="urn:microsoft.com/office/officeart/2008/layout/LinedList"/>
    <dgm:cxn modelId="{3FCE7653-6C6F-43C9-AC54-7915FB0BB826}" type="presParOf" srcId="{CD893FD4-705C-43FF-A950-4D55FEA7007E}" destId="{DC42ED90-86FD-48A3-A9FA-68AD0FC58FF1}" srcOrd="0" destOrd="0" presId="urn:microsoft.com/office/officeart/2008/layout/LinedList"/>
    <dgm:cxn modelId="{976171FF-3FEF-42C0-84AC-BB0167F738DB}" type="presParOf" srcId="{CD893FD4-705C-43FF-A950-4D55FEA7007E}" destId="{2025584D-257E-4029-8874-BA7B181D43B3}"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4.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Indicazioni di priorità per RIS3</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82F04964-3AAD-4EB8-AF5A-88DCD5910047}" type="presOf" srcId="{9AF403A6-2C5C-4F1B-B787-47496D3DBC71}" destId="{639FA514-32E4-4E31-8688-3C040A3F30E9}" srcOrd="0" destOrd="0" presId="urn:microsoft.com/office/officeart/2005/8/layout/chevronAccent+Icon"/>
    <dgm:cxn modelId="{B3B4A64C-805F-4244-9F5F-0EA995FF7E94}" type="presOf" srcId="{72D59079-C521-4525-81A4-701D931A8233}" destId="{9CE9EFE3-4E69-404A-8A99-59388A9E3922}" srcOrd="0" destOrd="0" presId="urn:microsoft.com/office/officeart/2005/8/layout/chevronAccent+Icon"/>
    <dgm:cxn modelId="{791EA2BA-3638-4EAF-8BE8-D0CBFB5374BF}" type="presParOf" srcId="{639FA514-32E4-4E31-8688-3C040A3F30E9}" destId="{F100BA9B-D4E3-421F-B5D8-42E4C50A115C}" srcOrd="0" destOrd="0" presId="urn:microsoft.com/office/officeart/2005/8/layout/chevronAccent+Icon"/>
    <dgm:cxn modelId="{05123223-7B01-4A12-AD04-56EDCB28AEDF}" type="presParOf" srcId="{F100BA9B-D4E3-421F-B5D8-42E4C50A115C}" destId="{51AD98A5-0898-43D1-8FB1-9AA58104A73C}" srcOrd="0" destOrd="0" presId="urn:microsoft.com/office/officeart/2005/8/layout/chevronAccent+Icon"/>
    <dgm:cxn modelId="{692801AF-B494-4108-999E-AC6614913849}"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15.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rtl="0"/>
          <a:r>
            <a:rPr lang="it-IT" sz="1200" b="1" dirty="0" smtClean="0">
              <a:effectLst>
                <a:outerShdw blurRad="38100" dist="38100" dir="2700000" algn="tl">
                  <a:srgbClr val="000000">
                    <a:alpha val="43137"/>
                  </a:srgbClr>
                </a:outerShdw>
              </a:effectLst>
            </a:rPr>
            <a:t>3. Sistema delle KETs</a:t>
          </a:r>
          <a:endParaRPr lang="it-IT" sz="12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custScaleX="127709" custScaleY="78457">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custScaleY="90321">
        <dgm:presLayoutVars>
          <dgm:bulletEnabled val="1"/>
        </dgm:presLayoutVars>
      </dgm:prSet>
      <dgm:spPr/>
    </dgm:pt>
  </dgm:ptLst>
  <dgm:cxnLst>
    <dgm:cxn modelId="{7D791F22-05A4-43B0-A3B0-B4E6CD7D2B9A}" type="presOf" srcId="{E4C7AF03-E2BD-4E48-8DAB-C1261D3D7EA9}" destId="{03DB856F-DE91-4CA0-AD05-B356DE21BFDC}" srcOrd="0" destOrd="0" presId="urn:microsoft.com/office/officeart/2005/8/layout/list1"/>
    <dgm:cxn modelId="{9D218DD0-FEA8-48AE-9A25-264350A752AB}" type="presOf" srcId="{188FD03C-7D6A-4D29-8FCB-9C1383057E36}" destId="{C08F212E-D010-4B1B-884C-243E8BB88BD2}"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E4EC4699-0E31-499A-8DB0-A5116666DCC1}" type="presOf" srcId="{E4C7AF03-E2BD-4E48-8DAB-C1261D3D7EA9}" destId="{21D380AD-5D38-4835-9FB5-615E5454C686}" srcOrd="1" destOrd="0" presId="urn:microsoft.com/office/officeart/2005/8/layout/list1"/>
    <dgm:cxn modelId="{E75A1FAE-EAF8-4517-BECE-E02ECB5DF4EA}" type="presParOf" srcId="{C08F212E-D010-4B1B-884C-243E8BB88BD2}" destId="{A042C0D5-6636-40E8-83EA-703099528EDB}" srcOrd="0" destOrd="0" presId="urn:microsoft.com/office/officeart/2005/8/layout/list1"/>
    <dgm:cxn modelId="{B41655AF-DE25-42EA-97CF-4AB1186987AF}" type="presParOf" srcId="{A042C0D5-6636-40E8-83EA-703099528EDB}" destId="{03DB856F-DE91-4CA0-AD05-B356DE21BFDC}" srcOrd="0" destOrd="0" presId="urn:microsoft.com/office/officeart/2005/8/layout/list1"/>
    <dgm:cxn modelId="{6235E159-0879-4A27-BCE0-2471284E1072}" type="presParOf" srcId="{A042C0D5-6636-40E8-83EA-703099528EDB}" destId="{21D380AD-5D38-4835-9FB5-615E5454C686}" srcOrd="1" destOrd="0" presId="urn:microsoft.com/office/officeart/2005/8/layout/list1"/>
    <dgm:cxn modelId="{448A88AB-C2BF-47E7-9796-17209FB630B8}" type="presParOf" srcId="{C08F212E-D010-4B1B-884C-243E8BB88BD2}" destId="{E77B3B8A-36B6-4AF7-9D59-DF889FA8E07C}" srcOrd="1" destOrd="0" presId="urn:microsoft.com/office/officeart/2005/8/layout/list1"/>
    <dgm:cxn modelId="{A2FE5213-0095-46C8-AE14-DA09E0813D62}"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16.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algn="l" rtl="0"/>
          <a:r>
            <a:rPr lang="it-IT" sz="1200" b="1" dirty="0" smtClean="0">
              <a:effectLst>
                <a:outerShdw blurRad="38100" dist="38100" dir="2700000" algn="tl">
                  <a:srgbClr val="000000">
                    <a:alpha val="43137"/>
                  </a:srgbClr>
                </a:outerShdw>
              </a:effectLst>
            </a:rPr>
            <a:t>4. Ruolo dell’innovazione sociale</a:t>
          </a:r>
          <a:endParaRPr lang="it-IT" sz="12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custScaleX="142997" custScaleY="78457">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custScaleY="90321">
        <dgm:presLayoutVars>
          <dgm:bulletEnabled val="1"/>
        </dgm:presLayoutVars>
      </dgm:prSet>
      <dgm:spPr/>
    </dgm:pt>
  </dgm:ptLst>
  <dgm:cxnLst>
    <dgm:cxn modelId="{A489F2B2-B255-4C71-B56C-8D972A726969}" type="presOf" srcId="{188FD03C-7D6A-4D29-8FCB-9C1383057E36}" destId="{C08F212E-D010-4B1B-884C-243E8BB88BD2}" srcOrd="0" destOrd="0" presId="urn:microsoft.com/office/officeart/2005/8/layout/list1"/>
    <dgm:cxn modelId="{8A8663AE-C081-40CB-A977-607B7856F4E7}" type="presOf" srcId="{E4C7AF03-E2BD-4E48-8DAB-C1261D3D7EA9}" destId="{21D380AD-5D38-4835-9FB5-615E5454C686}" srcOrd="1" destOrd="0" presId="urn:microsoft.com/office/officeart/2005/8/layout/list1"/>
    <dgm:cxn modelId="{CC9EB5DF-8075-4CFD-BB36-08249D8296CB}" type="presOf" srcId="{E4C7AF03-E2BD-4E48-8DAB-C1261D3D7EA9}" destId="{03DB856F-DE91-4CA0-AD05-B356DE21BFDC}"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519AC6E9-0E55-40A7-B866-43F781E1AD22}" type="presParOf" srcId="{C08F212E-D010-4B1B-884C-243E8BB88BD2}" destId="{A042C0D5-6636-40E8-83EA-703099528EDB}" srcOrd="0" destOrd="0" presId="urn:microsoft.com/office/officeart/2005/8/layout/list1"/>
    <dgm:cxn modelId="{30C2B003-85EC-47C5-BCD8-2F605AF3A156}" type="presParOf" srcId="{A042C0D5-6636-40E8-83EA-703099528EDB}" destId="{03DB856F-DE91-4CA0-AD05-B356DE21BFDC}" srcOrd="0" destOrd="0" presId="urn:microsoft.com/office/officeart/2005/8/layout/list1"/>
    <dgm:cxn modelId="{D3EAE91C-C282-470A-8F34-66D5A5E169EA}" type="presParOf" srcId="{A042C0D5-6636-40E8-83EA-703099528EDB}" destId="{21D380AD-5D38-4835-9FB5-615E5454C686}" srcOrd="1" destOrd="0" presId="urn:microsoft.com/office/officeart/2005/8/layout/list1"/>
    <dgm:cxn modelId="{04EBD949-8033-40B2-B661-EA3BE0DC210A}" type="presParOf" srcId="{C08F212E-D010-4B1B-884C-243E8BB88BD2}" destId="{E77B3B8A-36B6-4AF7-9D59-DF889FA8E07C}" srcOrd="1" destOrd="0" presId="urn:microsoft.com/office/officeart/2005/8/layout/list1"/>
    <dgm:cxn modelId="{97E07C21-5230-4C12-AE25-F6DA29F60CDB}"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117.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algn="l" rtl="0"/>
          <a:r>
            <a:rPr lang="it-IT" sz="1200" b="1" dirty="0" smtClean="0">
              <a:effectLst>
                <a:outerShdw blurRad="38100" dist="38100" dir="2700000" algn="tl">
                  <a:srgbClr val="000000">
                    <a:alpha val="43137"/>
                  </a:srgbClr>
                </a:outerShdw>
              </a:effectLst>
            </a:rPr>
            <a:t>5. Intersezione con altri ambiti tecnologici e produttivi</a:t>
          </a:r>
          <a:endParaRPr lang="it-IT" sz="1200" b="1"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custScaleX="127709" custScaleY="78457">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custScaleY="90321">
        <dgm:presLayoutVars>
          <dgm:bulletEnabled val="1"/>
        </dgm:presLayoutVars>
      </dgm:prSet>
      <dgm:spPr/>
    </dgm:pt>
  </dgm:ptLst>
  <dgm:cxnLst>
    <dgm:cxn modelId="{84D27565-150D-4528-8563-1AD5662DC3D6}" type="presOf" srcId="{E4C7AF03-E2BD-4E48-8DAB-C1261D3D7EA9}" destId="{21D380AD-5D38-4835-9FB5-615E5454C686}" srcOrd="1" destOrd="0" presId="urn:microsoft.com/office/officeart/2005/8/layout/list1"/>
    <dgm:cxn modelId="{AD6D44C2-FAB8-497B-BF7C-73E872C932AE}" type="presOf" srcId="{E4C7AF03-E2BD-4E48-8DAB-C1261D3D7EA9}" destId="{03DB856F-DE91-4CA0-AD05-B356DE21BFDC}" srcOrd="0" destOrd="0" presId="urn:microsoft.com/office/officeart/2005/8/layout/list1"/>
    <dgm:cxn modelId="{AACACA63-7E68-493C-8895-ACACB5B6B097}" type="presOf" srcId="{188FD03C-7D6A-4D29-8FCB-9C1383057E36}" destId="{C08F212E-D010-4B1B-884C-243E8BB88BD2}"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297C2CC5-430D-4C6F-AB21-4731460B76D6}" type="presParOf" srcId="{C08F212E-D010-4B1B-884C-243E8BB88BD2}" destId="{A042C0D5-6636-40E8-83EA-703099528EDB}" srcOrd="0" destOrd="0" presId="urn:microsoft.com/office/officeart/2005/8/layout/list1"/>
    <dgm:cxn modelId="{7276EA73-316D-4EF1-8827-58DEC1419005}" type="presParOf" srcId="{A042C0D5-6636-40E8-83EA-703099528EDB}" destId="{03DB856F-DE91-4CA0-AD05-B356DE21BFDC}" srcOrd="0" destOrd="0" presId="urn:microsoft.com/office/officeart/2005/8/layout/list1"/>
    <dgm:cxn modelId="{13F0F618-978F-4B9C-BFAC-BB7DCEDD5089}" type="presParOf" srcId="{A042C0D5-6636-40E8-83EA-703099528EDB}" destId="{21D380AD-5D38-4835-9FB5-615E5454C686}" srcOrd="1" destOrd="0" presId="urn:microsoft.com/office/officeart/2005/8/layout/list1"/>
    <dgm:cxn modelId="{4AA4C95D-6D59-4022-924B-D269EF4FEE3B}" type="presParOf" srcId="{C08F212E-D010-4B1B-884C-243E8BB88BD2}" destId="{E77B3B8A-36B6-4AF7-9D59-DF889FA8E07C}" srcOrd="1" destOrd="0" presId="urn:microsoft.com/office/officeart/2005/8/layout/list1"/>
    <dgm:cxn modelId="{DDBDBE5B-DBC4-4FB2-BEDD-6822C435A292}"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118.xml><?xml version="1.0" encoding="utf-8"?>
<dgm:dataModel xmlns:dgm="http://schemas.openxmlformats.org/drawingml/2006/diagram" xmlns:a="http://schemas.openxmlformats.org/drawingml/2006/main">
  <dgm:ptLst>
    <dgm:pt modelId="{23C72286-9D41-4007-A884-E0190E498F93}" type="doc">
      <dgm:prSet loTypeId="urn:microsoft.com/office/officeart/2005/8/layout/process4" loCatId="list" qsTypeId="urn:microsoft.com/office/officeart/2005/8/quickstyle/simple1" qsCatId="simple" csTypeId="urn:microsoft.com/office/officeart/2005/8/colors/colorful5" csCatId="colorful" phldr="1"/>
      <dgm:spPr/>
      <dgm:t>
        <a:bodyPr/>
        <a:lstStyle/>
        <a:p>
          <a:endParaRPr lang="it-IT"/>
        </a:p>
      </dgm:t>
    </dgm:pt>
    <dgm:pt modelId="{69453C6D-1F1A-423E-937F-CA90A7C0058A}">
      <dgm:prSet/>
      <dgm:spPr/>
      <dgm:t>
        <a:bodyPr/>
        <a:lstStyle/>
        <a:p>
          <a:pPr rtl="0"/>
          <a:r>
            <a:rPr lang="it-IT" b="1" u="sng" dirty="0" smtClean="0"/>
            <a:t>La Smart Specialisation in Sicilia potrebbe avviare un percorso di transizione verso un maggior ruolo strategico della produzione culturale e di sviluppo del suo potenziale economico.</a:t>
          </a:r>
          <a:endParaRPr lang="it-IT" dirty="0"/>
        </a:p>
      </dgm:t>
    </dgm:pt>
    <dgm:pt modelId="{FD456384-A2AA-4456-8179-6F7C132086F3}" type="parTrans" cxnId="{A124FDCC-7CEA-42BA-AEFB-F5D186242BF0}">
      <dgm:prSet/>
      <dgm:spPr/>
      <dgm:t>
        <a:bodyPr/>
        <a:lstStyle/>
        <a:p>
          <a:endParaRPr lang="it-IT"/>
        </a:p>
      </dgm:t>
    </dgm:pt>
    <dgm:pt modelId="{EF7AECC1-C9F9-4EDB-81E7-91508FDA9A6D}" type="sibTrans" cxnId="{A124FDCC-7CEA-42BA-AEFB-F5D186242BF0}">
      <dgm:prSet/>
      <dgm:spPr/>
      <dgm:t>
        <a:bodyPr/>
        <a:lstStyle/>
        <a:p>
          <a:endParaRPr lang="it-IT"/>
        </a:p>
      </dgm:t>
    </dgm:pt>
    <dgm:pt modelId="{831B4456-8A81-4958-BFB5-D5F84BF84EDB}">
      <dgm:prSet/>
      <dgm:spPr/>
      <dgm:t>
        <a:bodyPr/>
        <a:lstStyle/>
        <a:p>
          <a:pPr rtl="0"/>
          <a:r>
            <a:rPr lang="it-IT" b="1" u="sng" dirty="0" smtClean="0"/>
            <a:t> R</a:t>
          </a:r>
          <a:r>
            <a:rPr lang="it-IT" u="sng" dirty="0" smtClean="0"/>
            <a:t>iservando particolare attenzione alla dimensione della produzione di contenuti culturali e creativi, riferiti a nuove tipologie di domanda, bisognose di forme di narrazione molto diverse da quelle tipiche del museo ottocentesco </a:t>
          </a:r>
          <a:r>
            <a:rPr lang="it-IT" b="1" i="1" u="sng" dirty="0" smtClean="0"/>
            <a:t>(turismo come forma di esperienza </a:t>
          </a:r>
          <a:r>
            <a:rPr lang="it-IT" b="1" i="1" u="sng" dirty="0" err="1" smtClean="0"/>
            <a:t>immersiva</a:t>
          </a:r>
          <a:r>
            <a:rPr lang="it-IT" b="1" i="1" u="sng" dirty="0" smtClean="0"/>
            <a:t>)</a:t>
          </a:r>
          <a:r>
            <a:rPr lang="it-IT" b="1" u="sng" dirty="0" smtClean="0"/>
            <a:t>.</a:t>
          </a:r>
          <a:endParaRPr lang="it-IT" b="1" dirty="0"/>
        </a:p>
      </dgm:t>
    </dgm:pt>
    <dgm:pt modelId="{EC3607CF-CB0D-4274-B385-5C76E9FC92E9}" type="parTrans" cxnId="{6A993E87-B3B6-4630-8888-1F43A00C4D7F}">
      <dgm:prSet/>
      <dgm:spPr/>
      <dgm:t>
        <a:bodyPr/>
        <a:lstStyle/>
        <a:p>
          <a:endParaRPr lang="it-IT"/>
        </a:p>
      </dgm:t>
    </dgm:pt>
    <dgm:pt modelId="{1310E43D-7DD9-490A-A3B5-CF0CE4C5D024}" type="sibTrans" cxnId="{6A993E87-B3B6-4630-8888-1F43A00C4D7F}">
      <dgm:prSet/>
      <dgm:spPr/>
      <dgm:t>
        <a:bodyPr/>
        <a:lstStyle/>
        <a:p>
          <a:endParaRPr lang="it-IT"/>
        </a:p>
      </dgm:t>
    </dgm:pt>
    <dgm:pt modelId="{79C29A78-436D-44B6-9F23-9C5EC3816D6C}" type="pres">
      <dgm:prSet presAssocID="{23C72286-9D41-4007-A884-E0190E498F93}" presName="Name0" presStyleCnt="0">
        <dgm:presLayoutVars>
          <dgm:dir/>
          <dgm:animLvl val="lvl"/>
          <dgm:resizeHandles val="exact"/>
        </dgm:presLayoutVars>
      </dgm:prSet>
      <dgm:spPr/>
      <dgm:t>
        <a:bodyPr/>
        <a:lstStyle/>
        <a:p>
          <a:endParaRPr lang="it-IT"/>
        </a:p>
      </dgm:t>
    </dgm:pt>
    <dgm:pt modelId="{58625BE2-A796-4908-A1EB-A5EAE0AACE32}" type="pres">
      <dgm:prSet presAssocID="{831B4456-8A81-4958-BFB5-D5F84BF84EDB}" presName="boxAndChildren" presStyleCnt="0"/>
      <dgm:spPr/>
    </dgm:pt>
    <dgm:pt modelId="{D91E0BE8-439B-402A-9D40-530450C3E825}" type="pres">
      <dgm:prSet presAssocID="{831B4456-8A81-4958-BFB5-D5F84BF84EDB}" presName="parentTextBox" presStyleLbl="node1" presStyleIdx="0" presStyleCnt="2"/>
      <dgm:spPr/>
      <dgm:t>
        <a:bodyPr/>
        <a:lstStyle/>
        <a:p>
          <a:endParaRPr lang="it-IT"/>
        </a:p>
      </dgm:t>
    </dgm:pt>
    <dgm:pt modelId="{14B70B83-BE6F-4F82-84B5-4E631C1D6BB0}" type="pres">
      <dgm:prSet presAssocID="{EF7AECC1-C9F9-4EDB-81E7-91508FDA9A6D}" presName="sp" presStyleCnt="0"/>
      <dgm:spPr/>
    </dgm:pt>
    <dgm:pt modelId="{4371F116-88E3-4677-90BA-ECADA1EBB96C}" type="pres">
      <dgm:prSet presAssocID="{69453C6D-1F1A-423E-937F-CA90A7C0058A}" presName="arrowAndChildren" presStyleCnt="0"/>
      <dgm:spPr/>
    </dgm:pt>
    <dgm:pt modelId="{528C8310-9265-4662-846D-43047B3A344B}" type="pres">
      <dgm:prSet presAssocID="{69453C6D-1F1A-423E-937F-CA90A7C0058A}" presName="parentTextArrow" presStyleLbl="node1" presStyleIdx="1" presStyleCnt="2"/>
      <dgm:spPr/>
      <dgm:t>
        <a:bodyPr/>
        <a:lstStyle/>
        <a:p>
          <a:endParaRPr lang="it-IT"/>
        </a:p>
      </dgm:t>
    </dgm:pt>
  </dgm:ptLst>
  <dgm:cxnLst>
    <dgm:cxn modelId="{A124FDCC-7CEA-42BA-AEFB-F5D186242BF0}" srcId="{23C72286-9D41-4007-A884-E0190E498F93}" destId="{69453C6D-1F1A-423E-937F-CA90A7C0058A}" srcOrd="0" destOrd="0" parTransId="{FD456384-A2AA-4456-8179-6F7C132086F3}" sibTransId="{EF7AECC1-C9F9-4EDB-81E7-91508FDA9A6D}"/>
    <dgm:cxn modelId="{C181C9E7-45EE-42C3-BEF5-8A37F53272F3}" type="presOf" srcId="{69453C6D-1F1A-423E-937F-CA90A7C0058A}" destId="{528C8310-9265-4662-846D-43047B3A344B}" srcOrd="0" destOrd="0" presId="urn:microsoft.com/office/officeart/2005/8/layout/process4"/>
    <dgm:cxn modelId="{6A993E87-B3B6-4630-8888-1F43A00C4D7F}" srcId="{23C72286-9D41-4007-A884-E0190E498F93}" destId="{831B4456-8A81-4958-BFB5-D5F84BF84EDB}" srcOrd="1" destOrd="0" parTransId="{EC3607CF-CB0D-4274-B385-5C76E9FC92E9}" sibTransId="{1310E43D-7DD9-490A-A3B5-CF0CE4C5D024}"/>
    <dgm:cxn modelId="{1B4E5D57-8513-4E77-89C6-8F1E87315851}" type="presOf" srcId="{23C72286-9D41-4007-A884-E0190E498F93}" destId="{79C29A78-436D-44B6-9F23-9C5EC3816D6C}" srcOrd="0" destOrd="0" presId="urn:microsoft.com/office/officeart/2005/8/layout/process4"/>
    <dgm:cxn modelId="{3BD6F348-6F51-40E2-99B6-0AF9D252B472}" type="presOf" srcId="{831B4456-8A81-4958-BFB5-D5F84BF84EDB}" destId="{D91E0BE8-439B-402A-9D40-530450C3E825}" srcOrd="0" destOrd="0" presId="urn:microsoft.com/office/officeart/2005/8/layout/process4"/>
    <dgm:cxn modelId="{E11361F6-3F1B-4666-A801-6E9FEC72572E}" type="presParOf" srcId="{79C29A78-436D-44B6-9F23-9C5EC3816D6C}" destId="{58625BE2-A796-4908-A1EB-A5EAE0AACE32}" srcOrd="0" destOrd="0" presId="urn:microsoft.com/office/officeart/2005/8/layout/process4"/>
    <dgm:cxn modelId="{E817396B-CB0E-482E-848C-9A7B4BEC8570}" type="presParOf" srcId="{58625BE2-A796-4908-A1EB-A5EAE0AACE32}" destId="{D91E0BE8-439B-402A-9D40-530450C3E825}" srcOrd="0" destOrd="0" presId="urn:microsoft.com/office/officeart/2005/8/layout/process4"/>
    <dgm:cxn modelId="{C19C784C-E6B3-4705-A1BD-0B0A64163FB2}" type="presParOf" srcId="{79C29A78-436D-44B6-9F23-9C5EC3816D6C}" destId="{14B70B83-BE6F-4F82-84B5-4E631C1D6BB0}" srcOrd="1" destOrd="0" presId="urn:microsoft.com/office/officeart/2005/8/layout/process4"/>
    <dgm:cxn modelId="{9E70F0FD-B728-4FC7-9B44-FA778E457C13}" type="presParOf" srcId="{79C29A78-436D-44B6-9F23-9C5EC3816D6C}" destId="{4371F116-88E3-4677-90BA-ECADA1EBB96C}" srcOrd="2" destOrd="0" presId="urn:microsoft.com/office/officeart/2005/8/layout/process4"/>
    <dgm:cxn modelId="{E155CDAB-BC1E-40A7-8987-1AE2B41B7700}" type="presParOf" srcId="{4371F116-88E3-4677-90BA-ECADA1EBB96C}" destId="{528C8310-9265-4662-846D-43047B3A344B}"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9.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Indicazioni di priorità per RIS3</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6A9E28FC-91A4-4470-B09D-79BEFF1F974F}" type="presOf" srcId="{9AF403A6-2C5C-4F1B-B787-47496D3DBC71}" destId="{639FA514-32E4-4E31-8688-3C040A3F30E9}" srcOrd="0" destOrd="0" presId="urn:microsoft.com/office/officeart/2005/8/layout/chevronAccent+Icon"/>
    <dgm:cxn modelId="{E91249C2-0031-4D72-813D-B70B96DA3B9F}" type="presOf" srcId="{72D59079-C521-4525-81A4-701D931A8233}" destId="{9CE9EFE3-4E69-404A-8A99-59388A9E3922}" srcOrd="0" destOrd="0" presId="urn:microsoft.com/office/officeart/2005/8/layout/chevronAccent+Icon"/>
    <dgm:cxn modelId="{ECD2326D-BF32-48C6-93E0-DE5232127F34}" type="presParOf" srcId="{639FA514-32E4-4E31-8688-3C040A3F30E9}" destId="{F100BA9B-D4E3-421F-B5D8-42E4C50A115C}" srcOrd="0" destOrd="0" presId="urn:microsoft.com/office/officeart/2005/8/layout/chevronAccent+Icon"/>
    <dgm:cxn modelId="{C174FE39-D1A3-452B-BDF5-8B137B952022}" type="presParOf" srcId="{F100BA9B-D4E3-421F-B5D8-42E4C50A115C}" destId="{51AD98A5-0898-43D1-8FB1-9AA58104A73C}" srcOrd="0" destOrd="0" presId="urn:microsoft.com/office/officeart/2005/8/layout/chevronAccent+Icon"/>
    <dgm:cxn modelId="{754827F3-D606-4E23-A75A-BE95099301FB}"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239B68A-E7D9-43EB-BAA7-51C73576A697}" type="doc">
      <dgm:prSet loTypeId="urn:microsoft.com/office/officeart/2005/8/layout/cycle5" loCatId="cycle" qsTypeId="urn:microsoft.com/office/officeart/2005/8/quickstyle/3d6" qsCatId="3D" csTypeId="urn:microsoft.com/office/officeart/2005/8/colors/accent1_2" csCatId="accent1" phldr="1"/>
      <dgm:spPr/>
      <dgm:t>
        <a:bodyPr/>
        <a:lstStyle/>
        <a:p>
          <a:endParaRPr lang="it-IT"/>
        </a:p>
      </dgm:t>
    </dgm:pt>
    <dgm:pt modelId="{753D6FF9-76BD-4BDE-B1E8-B27436EA941F}">
      <dgm:prSet phldrT="[Testo]"/>
      <dgm:spPr/>
      <dgm:t>
        <a:bodyPr/>
        <a:lstStyle/>
        <a:p>
          <a:r>
            <a:rPr lang="it-IT" dirty="0" smtClean="0"/>
            <a:t>Biotecnologie</a:t>
          </a:r>
          <a:endParaRPr lang="it-IT" dirty="0"/>
        </a:p>
      </dgm:t>
    </dgm:pt>
    <dgm:pt modelId="{4F8365F4-CA84-4B9A-AE88-7AD472ACAF3E}" type="parTrans" cxnId="{7BB8DB9A-99B6-453C-AA92-C3C9A5178C62}">
      <dgm:prSet/>
      <dgm:spPr/>
      <dgm:t>
        <a:bodyPr/>
        <a:lstStyle/>
        <a:p>
          <a:endParaRPr lang="it-IT"/>
        </a:p>
      </dgm:t>
    </dgm:pt>
    <dgm:pt modelId="{4F583956-5842-4C16-A2FF-C254E27A6615}" type="sibTrans" cxnId="{7BB8DB9A-99B6-453C-AA92-C3C9A5178C62}">
      <dgm:prSet/>
      <dgm:spPr/>
      <dgm:t>
        <a:bodyPr/>
        <a:lstStyle/>
        <a:p>
          <a:endParaRPr lang="it-IT"/>
        </a:p>
      </dgm:t>
    </dgm:pt>
    <dgm:pt modelId="{1C97B484-D592-434B-955F-0238DFAA925A}">
      <dgm:prSet phldrT="[Testo]"/>
      <dgm:spPr/>
      <dgm:t>
        <a:bodyPr/>
        <a:lstStyle/>
        <a:p>
          <a:r>
            <a:rPr lang="it-IT" dirty="0" smtClean="0"/>
            <a:t>ICT</a:t>
          </a:r>
          <a:endParaRPr lang="it-IT" dirty="0"/>
        </a:p>
      </dgm:t>
    </dgm:pt>
    <dgm:pt modelId="{084A2D3D-59DB-4A53-B4DB-369D548646BB}" type="parTrans" cxnId="{78D47852-4458-49D5-AC4D-6FFDD42A9D42}">
      <dgm:prSet/>
      <dgm:spPr/>
      <dgm:t>
        <a:bodyPr/>
        <a:lstStyle/>
        <a:p>
          <a:endParaRPr lang="it-IT"/>
        </a:p>
      </dgm:t>
    </dgm:pt>
    <dgm:pt modelId="{5F8ED8F5-61FB-4E9E-8D3B-64F5C0BD87FF}" type="sibTrans" cxnId="{78D47852-4458-49D5-AC4D-6FFDD42A9D42}">
      <dgm:prSet/>
      <dgm:spPr/>
      <dgm:t>
        <a:bodyPr/>
        <a:lstStyle/>
        <a:p>
          <a:endParaRPr lang="it-IT"/>
        </a:p>
      </dgm:t>
    </dgm:pt>
    <dgm:pt modelId="{88BD0557-199F-4C4D-9088-B630DF809B31}">
      <dgm:prSet phldrT="[Testo]"/>
      <dgm:spPr/>
      <dgm:t>
        <a:bodyPr/>
        <a:lstStyle/>
        <a:p>
          <a:r>
            <a:rPr lang="it-IT" dirty="0" smtClean="0"/>
            <a:t>Innovazione sociale</a:t>
          </a:r>
          <a:endParaRPr lang="it-IT" dirty="0"/>
        </a:p>
      </dgm:t>
    </dgm:pt>
    <dgm:pt modelId="{B2FAA026-9610-40B8-B07C-C4424E290CE7}" type="parTrans" cxnId="{631012E5-0F48-4C31-9834-0B0DC34C1F89}">
      <dgm:prSet/>
      <dgm:spPr/>
      <dgm:t>
        <a:bodyPr/>
        <a:lstStyle/>
        <a:p>
          <a:endParaRPr lang="it-IT"/>
        </a:p>
      </dgm:t>
    </dgm:pt>
    <dgm:pt modelId="{E1B5CD9D-5FC2-4D5F-ADA3-1101548FFF78}" type="sibTrans" cxnId="{631012E5-0F48-4C31-9834-0B0DC34C1F89}">
      <dgm:prSet/>
      <dgm:spPr/>
      <dgm:t>
        <a:bodyPr/>
        <a:lstStyle/>
        <a:p>
          <a:endParaRPr lang="it-IT"/>
        </a:p>
      </dgm:t>
    </dgm:pt>
    <dgm:pt modelId="{4AAD710B-73A7-40D0-BE45-F970671007FE}">
      <dgm:prSet phldrT="[Testo]"/>
      <dgm:spPr/>
      <dgm:t>
        <a:bodyPr/>
        <a:lstStyle/>
        <a:p>
          <a:r>
            <a:rPr lang="it-IT" dirty="0" smtClean="0"/>
            <a:t>Micro elettronica</a:t>
          </a:r>
          <a:endParaRPr lang="it-IT" dirty="0"/>
        </a:p>
      </dgm:t>
    </dgm:pt>
    <dgm:pt modelId="{4DE9D59B-4DE5-4044-B26D-1FEB59A44792}" type="parTrans" cxnId="{7A532FA1-B9A9-47E1-A04D-122ED612F025}">
      <dgm:prSet/>
      <dgm:spPr/>
      <dgm:t>
        <a:bodyPr/>
        <a:lstStyle/>
        <a:p>
          <a:endParaRPr lang="it-IT"/>
        </a:p>
      </dgm:t>
    </dgm:pt>
    <dgm:pt modelId="{09849086-A42A-488F-B9A2-5CBD4130A55E}" type="sibTrans" cxnId="{7A532FA1-B9A9-47E1-A04D-122ED612F025}">
      <dgm:prSet/>
      <dgm:spPr/>
      <dgm:t>
        <a:bodyPr/>
        <a:lstStyle/>
        <a:p>
          <a:endParaRPr lang="it-IT"/>
        </a:p>
      </dgm:t>
    </dgm:pt>
    <dgm:pt modelId="{689482D7-7DAA-4515-AD7B-9F3993164284}" type="pres">
      <dgm:prSet presAssocID="{4239B68A-E7D9-43EB-BAA7-51C73576A697}" presName="cycle" presStyleCnt="0">
        <dgm:presLayoutVars>
          <dgm:dir/>
          <dgm:resizeHandles val="exact"/>
        </dgm:presLayoutVars>
      </dgm:prSet>
      <dgm:spPr/>
      <dgm:t>
        <a:bodyPr/>
        <a:lstStyle/>
        <a:p>
          <a:endParaRPr lang="it-IT"/>
        </a:p>
      </dgm:t>
    </dgm:pt>
    <dgm:pt modelId="{B3434D6D-2122-4A51-877E-06D18981102B}" type="pres">
      <dgm:prSet presAssocID="{753D6FF9-76BD-4BDE-B1E8-B27436EA941F}" presName="node" presStyleLbl="node1" presStyleIdx="0" presStyleCnt="4" custScaleY="28924" custRadScaleRad="129263" custRadScaleInc="1062">
        <dgm:presLayoutVars>
          <dgm:bulletEnabled val="1"/>
        </dgm:presLayoutVars>
      </dgm:prSet>
      <dgm:spPr/>
      <dgm:t>
        <a:bodyPr/>
        <a:lstStyle/>
        <a:p>
          <a:endParaRPr lang="it-IT"/>
        </a:p>
      </dgm:t>
    </dgm:pt>
    <dgm:pt modelId="{4CD83FF9-1CA1-4F89-AC4B-CE683910458D}" type="pres">
      <dgm:prSet presAssocID="{753D6FF9-76BD-4BDE-B1E8-B27436EA941F}" presName="spNode" presStyleCnt="0"/>
      <dgm:spPr/>
    </dgm:pt>
    <dgm:pt modelId="{B48349C0-DA42-45C1-A305-A31ACB3E56FA}" type="pres">
      <dgm:prSet presAssocID="{4F583956-5842-4C16-A2FF-C254E27A6615}" presName="sibTrans" presStyleLbl="sibTrans1D1" presStyleIdx="0" presStyleCnt="4"/>
      <dgm:spPr/>
      <dgm:t>
        <a:bodyPr/>
        <a:lstStyle/>
        <a:p>
          <a:endParaRPr lang="it-IT"/>
        </a:p>
      </dgm:t>
    </dgm:pt>
    <dgm:pt modelId="{6AC538DC-7B9C-4F13-B5F1-2B31B455CDEC}" type="pres">
      <dgm:prSet presAssocID="{1C97B484-D592-434B-955F-0238DFAA925A}" presName="node" presStyleLbl="node1" presStyleIdx="1" presStyleCnt="4" custScaleX="45363" custScaleY="56945" custRadScaleRad="173156" custRadScaleInc="-11710">
        <dgm:presLayoutVars>
          <dgm:bulletEnabled val="1"/>
        </dgm:presLayoutVars>
      </dgm:prSet>
      <dgm:spPr/>
      <dgm:t>
        <a:bodyPr/>
        <a:lstStyle/>
        <a:p>
          <a:endParaRPr lang="it-IT"/>
        </a:p>
      </dgm:t>
    </dgm:pt>
    <dgm:pt modelId="{764BDEC8-8531-4C4B-B0E2-47A247213CC0}" type="pres">
      <dgm:prSet presAssocID="{1C97B484-D592-434B-955F-0238DFAA925A}" presName="spNode" presStyleCnt="0"/>
      <dgm:spPr/>
    </dgm:pt>
    <dgm:pt modelId="{C398BA1F-BFAB-4EDA-A553-016DA6A23E7D}" type="pres">
      <dgm:prSet presAssocID="{5F8ED8F5-61FB-4E9E-8D3B-64F5C0BD87FF}" presName="sibTrans" presStyleLbl="sibTrans1D1" presStyleIdx="1" presStyleCnt="4"/>
      <dgm:spPr/>
      <dgm:t>
        <a:bodyPr/>
        <a:lstStyle/>
        <a:p>
          <a:endParaRPr lang="it-IT"/>
        </a:p>
      </dgm:t>
    </dgm:pt>
    <dgm:pt modelId="{4D6D01E9-C592-4F2E-AB82-072A02D0A479}" type="pres">
      <dgm:prSet presAssocID="{88BD0557-199F-4C4D-9088-B630DF809B31}" presName="node" presStyleLbl="node1" presStyleIdx="2" presStyleCnt="4" custScaleY="44456" custRadScaleRad="125265" custRadScaleInc="-1095">
        <dgm:presLayoutVars>
          <dgm:bulletEnabled val="1"/>
        </dgm:presLayoutVars>
      </dgm:prSet>
      <dgm:spPr/>
      <dgm:t>
        <a:bodyPr/>
        <a:lstStyle/>
        <a:p>
          <a:endParaRPr lang="it-IT"/>
        </a:p>
      </dgm:t>
    </dgm:pt>
    <dgm:pt modelId="{01E9116D-C771-4573-AA29-3BFB9CD852EB}" type="pres">
      <dgm:prSet presAssocID="{88BD0557-199F-4C4D-9088-B630DF809B31}" presName="spNode" presStyleCnt="0"/>
      <dgm:spPr/>
    </dgm:pt>
    <dgm:pt modelId="{F7BAADD9-C75B-4898-B52D-48E4B788C62A}" type="pres">
      <dgm:prSet presAssocID="{E1B5CD9D-5FC2-4D5F-ADA3-1101548FFF78}" presName="sibTrans" presStyleLbl="sibTrans1D1" presStyleIdx="2" presStyleCnt="4"/>
      <dgm:spPr/>
      <dgm:t>
        <a:bodyPr/>
        <a:lstStyle/>
        <a:p>
          <a:endParaRPr lang="it-IT"/>
        </a:p>
      </dgm:t>
    </dgm:pt>
    <dgm:pt modelId="{7086B33B-544F-4FEE-A7F7-198130F517DF}" type="pres">
      <dgm:prSet presAssocID="{4AAD710B-73A7-40D0-BE45-F970671007FE}" presName="node" presStyleLbl="node1" presStyleIdx="3" presStyleCnt="4" custScaleX="51388" custRadScaleRad="164999" custRadScaleInc="-2806">
        <dgm:presLayoutVars>
          <dgm:bulletEnabled val="1"/>
        </dgm:presLayoutVars>
      </dgm:prSet>
      <dgm:spPr/>
      <dgm:t>
        <a:bodyPr/>
        <a:lstStyle/>
        <a:p>
          <a:endParaRPr lang="it-IT"/>
        </a:p>
      </dgm:t>
    </dgm:pt>
    <dgm:pt modelId="{724447C4-B12D-4D00-AC95-AC1A1D8A80BC}" type="pres">
      <dgm:prSet presAssocID="{4AAD710B-73A7-40D0-BE45-F970671007FE}" presName="spNode" presStyleCnt="0"/>
      <dgm:spPr/>
    </dgm:pt>
    <dgm:pt modelId="{00526382-6092-453E-9B7B-82B351DD0AD1}" type="pres">
      <dgm:prSet presAssocID="{09849086-A42A-488F-B9A2-5CBD4130A55E}" presName="sibTrans" presStyleLbl="sibTrans1D1" presStyleIdx="3" presStyleCnt="4"/>
      <dgm:spPr/>
      <dgm:t>
        <a:bodyPr/>
        <a:lstStyle/>
        <a:p>
          <a:endParaRPr lang="it-IT"/>
        </a:p>
      </dgm:t>
    </dgm:pt>
  </dgm:ptLst>
  <dgm:cxnLst>
    <dgm:cxn modelId="{C045FB34-2114-4EEA-BFF0-1CC5C6C3A31D}" type="presOf" srcId="{4AAD710B-73A7-40D0-BE45-F970671007FE}" destId="{7086B33B-544F-4FEE-A7F7-198130F517DF}" srcOrd="0" destOrd="0" presId="urn:microsoft.com/office/officeart/2005/8/layout/cycle5"/>
    <dgm:cxn modelId="{69E6CCAB-AAB9-4E3A-95BC-72BEEE9EFEB6}" type="presOf" srcId="{09849086-A42A-488F-B9A2-5CBD4130A55E}" destId="{00526382-6092-453E-9B7B-82B351DD0AD1}" srcOrd="0" destOrd="0" presId="urn:microsoft.com/office/officeart/2005/8/layout/cycle5"/>
    <dgm:cxn modelId="{631012E5-0F48-4C31-9834-0B0DC34C1F89}" srcId="{4239B68A-E7D9-43EB-BAA7-51C73576A697}" destId="{88BD0557-199F-4C4D-9088-B630DF809B31}" srcOrd="2" destOrd="0" parTransId="{B2FAA026-9610-40B8-B07C-C4424E290CE7}" sibTransId="{E1B5CD9D-5FC2-4D5F-ADA3-1101548FFF78}"/>
    <dgm:cxn modelId="{7A532FA1-B9A9-47E1-A04D-122ED612F025}" srcId="{4239B68A-E7D9-43EB-BAA7-51C73576A697}" destId="{4AAD710B-73A7-40D0-BE45-F970671007FE}" srcOrd="3" destOrd="0" parTransId="{4DE9D59B-4DE5-4044-B26D-1FEB59A44792}" sibTransId="{09849086-A42A-488F-B9A2-5CBD4130A55E}"/>
    <dgm:cxn modelId="{7BB8DB9A-99B6-453C-AA92-C3C9A5178C62}" srcId="{4239B68A-E7D9-43EB-BAA7-51C73576A697}" destId="{753D6FF9-76BD-4BDE-B1E8-B27436EA941F}" srcOrd="0" destOrd="0" parTransId="{4F8365F4-CA84-4B9A-AE88-7AD472ACAF3E}" sibTransId="{4F583956-5842-4C16-A2FF-C254E27A6615}"/>
    <dgm:cxn modelId="{34012554-0450-417A-A079-14E3D8A90C21}" type="presOf" srcId="{1C97B484-D592-434B-955F-0238DFAA925A}" destId="{6AC538DC-7B9C-4F13-B5F1-2B31B455CDEC}" srcOrd="0" destOrd="0" presId="urn:microsoft.com/office/officeart/2005/8/layout/cycle5"/>
    <dgm:cxn modelId="{E5C745D5-E1CC-42B0-9390-DD60F84E1C57}" type="presOf" srcId="{88BD0557-199F-4C4D-9088-B630DF809B31}" destId="{4D6D01E9-C592-4F2E-AB82-072A02D0A479}" srcOrd="0" destOrd="0" presId="urn:microsoft.com/office/officeart/2005/8/layout/cycle5"/>
    <dgm:cxn modelId="{4C41531B-6CBA-4C6E-8E98-5E9C9F5CAFDA}" type="presOf" srcId="{4F583956-5842-4C16-A2FF-C254E27A6615}" destId="{B48349C0-DA42-45C1-A305-A31ACB3E56FA}" srcOrd="0" destOrd="0" presId="urn:microsoft.com/office/officeart/2005/8/layout/cycle5"/>
    <dgm:cxn modelId="{78D47852-4458-49D5-AC4D-6FFDD42A9D42}" srcId="{4239B68A-E7D9-43EB-BAA7-51C73576A697}" destId="{1C97B484-D592-434B-955F-0238DFAA925A}" srcOrd="1" destOrd="0" parTransId="{084A2D3D-59DB-4A53-B4DB-369D548646BB}" sibTransId="{5F8ED8F5-61FB-4E9E-8D3B-64F5C0BD87FF}"/>
    <dgm:cxn modelId="{79275CFF-40C0-43B9-BCD7-567D87228E46}" type="presOf" srcId="{4239B68A-E7D9-43EB-BAA7-51C73576A697}" destId="{689482D7-7DAA-4515-AD7B-9F3993164284}" srcOrd="0" destOrd="0" presId="urn:microsoft.com/office/officeart/2005/8/layout/cycle5"/>
    <dgm:cxn modelId="{8999DE41-3B75-41DB-8229-BF57861DCFF4}" type="presOf" srcId="{E1B5CD9D-5FC2-4D5F-ADA3-1101548FFF78}" destId="{F7BAADD9-C75B-4898-B52D-48E4B788C62A}" srcOrd="0" destOrd="0" presId="urn:microsoft.com/office/officeart/2005/8/layout/cycle5"/>
    <dgm:cxn modelId="{BF50C4DE-3A97-452F-BA0E-E903CAE618B8}" type="presOf" srcId="{753D6FF9-76BD-4BDE-B1E8-B27436EA941F}" destId="{B3434D6D-2122-4A51-877E-06D18981102B}" srcOrd="0" destOrd="0" presId="urn:microsoft.com/office/officeart/2005/8/layout/cycle5"/>
    <dgm:cxn modelId="{D5966188-4D8C-4656-9B1A-0728683FFF4E}" type="presOf" srcId="{5F8ED8F5-61FB-4E9E-8D3B-64F5C0BD87FF}" destId="{C398BA1F-BFAB-4EDA-A553-016DA6A23E7D}" srcOrd="0" destOrd="0" presId="urn:microsoft.com/office/officeart/2005/8/layout/cycle5"/>
    <dgm:cxn modelId="{D9AE5F2B-B5DE-4B0A-A65E-4EACECCFA1CE}" type="presParOf" srcId="{689482D7-7DAA-4515-AD7B-9F3993164284}" destId="{B3434D6D-2122-4A51-877E-06D18981102B}" srcOrd="0" destOrd="0" presId="urn:microsoft.com/office/officeart/2005/8/layout/cycle5"/>
    <dgm:cxn modelId="{4EF92579-F70D-4095-8BB1-143AAE862A13}" type="presParOf" srcId="{689482D7-7DAA-4515-AD7B-9F3993164284}" destId="{4CD83FF9-1CA1-4F89-AC4B-CE683910458D}" srcOrd="1" destOrd="0" presId="urn:microsoft.com/office/officeart/2005/8/layout/cycle5"/>
    <dgm:cxn modelId="{45E5A69F-17A4-402D-9499-E7340602588D}" type="presParOf" srcId="{689482D7-7DAA-4515-AD7B-9F3993164284}" destId="{B48349C0-DA42-45C1-A305-A31ACB3E56FA}" srcOrd="2" destOrd="0" presId="urn:microsoft.com/office/officeart/2005/8/layout/cycle5"/>
    <dgm:cxn modelId="{F59FEE82-2B8B-441F-A557-4944EB6A8831}" type="presParOf" srcId="{689482D7-7DAA-4515-AD7B-9F3993164284}" destId="{6AC538DC-7B9C-4F13-B5F1-2B31B455CDEC}" srcOrd="3" destOrd="0" presId="urn:microsoft.com/office/officeart/2005/8/layout/cycle5"/>
    <dgm:cxn modelId="{0D2997B7-A7B9-4AA2-99E7-204165E0E6D0}" type="presParOf" srcId="{689482D7-7DAA-4515-AD7B-9F3993164284}" destId="{764BDEC8-8531-4C4B-B0E2-47A247213CC0}" srcOrd="4" destOrd="0" presId="urn:microsoft.com/office/officeart/2005/8/layout/cycle5"/>
    <dgm:cxn modelId="{318B27C7-9F50-4A89-BA8F-7916A125C5A7}" type="presParOf" srcId="{689482D7-7DAA-4515-AD7B-9F3993164284}" destId="{C398BA1F-BFAB-4EDA-A553-016DA6A23E7D}" srcOrd="5" destOrd="0" presId="urn:microsoft.com/office/officeart/2005/8/layout/cycle5"/>
    <dgm:cxn modelId="{49683EE5-89B6-45EE-AD71-2A58C2AFDC01}" type="presParOf" srcId="{689482D7-7DAA-4515-AD7B-9F3993164284}" destId="{4D6D01E9-C592-4F2E-AB82-072A02D0A479}" srcOrd="6" destOrd="0" presId="urn:microsoft.com/office/officeart/2005/8/layout/cycle5"/>
    <dgm:cxn modelId="{EBA6D15F-78F5-4629-A110-73D6ED18099B}" type="presParOf" srcId="{689482D7-7DAA-4515-AD7B-9F3993164284}" destId="{01E9116D-C771-4573-AA29-3BFB9CD852EB}" srcOrd="7" destOrd="0" presId="urn:microsoft.com/office/officeart/2005/8/layout/cycle5"/>
    <dgm:cxn modelId="{CDA38C97-83BB-495E-9DC9-F378527E5151}" type="presParOf" srcId="{689482D7-7DAA-4515-AD7B-9F3993164284}" destId="{F7BAADD9-C75B-4898-B52D-48E4B788C62A}" srcOrd="8" destOrd="0" presId="urn:microsoft.com/office/officeart/2005/8/layout/cycle5"/>
    <dgm:cxn modelId="{E28A71A7-DC87-40D6-AB4E-747ED7E4E249}" type="presParOf" srcId="{689482D7-7DAA-4515-AD7B-9F3993164284}" destId="{7086B33B-544F-4FEE-A7F7-198130F517DF}" srcOrd="9" destOrd="0" presId="urn:microsoft.com/office/officeart/2005/8/layout/cycle5"/>
    <dgm:cxn modelId="{48C02635-4CC6-479C-BCB2-B4F6B1AFF1F3}" type="presParOf" srcId="{689482D7-7DAA-4515-AD7B-9F3993164284}" destId="{724447C4-B12D-4D00-AC95-AC1A1D8A80BC}" srcOrd="10" destOrd="0" presId="urn:microsoft.com/office/officeart/2005/8/layout/cycle5"/>
    <dgm:cxn modelId="{00E44AD9-737A-4226-90B6-664112D022C9}" type="presParOf" srcId="{689482D7-7DAA-4515-AD7B-9F3993164284}" destId="{00526382-6092-453E-9B7B-82B351DD0AD1}" srcOrd="11" destOrd="0" presId="urn:microsoft.com/office/officeart/2005/8/layout/cycle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20.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rtl="0"/>
          <a:r>
            <a:rPr lang="it-IT" sz="1200" b="1" dirty="0" smtClean="0">
              <a:effectLst>
                <a:outerShdw blurRad="38100" dist="38100" dir="2700000" algn="tl">
                  <a:srgbClr val="000000">
                    <a:alpha val="43137"/>
                  </a:srgbClr>
                </a:outerShdw>
              </a:effectLst>
            </a:rPr>
            <a:t>3. Sistema delle KETs</a:t>
          </a:r>
          <a:endParaRPr lang="it-IT" sz="12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custScaleX="127709" custScaleY="78457">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custScaleY="90321">
        <dgm:presLayoutVars>
          <dgm:bulletEnabled val="1"/>
        </dgm:presLayoutVars>
      </dgm:prSet>
      <dgm:spPr/>
    </dgm:pt>
  </dgm:ptLst>
  <dgm:cxnLst>
    <dgm:cxn modelId="{EF3F067A-4954-4143-9A69-079ADAFAC5FA}" type="presOf" srcId="{E4C7AF03-E2BD-4E48-8DAB-C1261D3D7EA9}" destId="{03DB856F-DE91-4CA0-AD05-B356DE21BFDC}" srcOrd="0" destOrd="0" presId="urn:microsoft.com/office/officeart/2005/8/layout/list1"/>
    <dgm:cxn modelId="{8B1FAE82-D179-4644-B8FD-0540AB0AC3A8}" type="presOf" srcId="{E4C7AF03-E2BD-4E48-8DAB-C1261D3D7EA9}" destId="{21D380AD-5D38-4835-9FB5-615E5454C686}" srcOrd="1" destOrd="0" presId="urn:microsoft.com/office/officeart/2005/8/layout/list1"/>
    <dgm:cxn modelId="{E4031B15-8163-4273-9457-50FB367185CC}" type="presOf" srcId="{188FD03C-7D6A-4D29-8FCB-9C1383057E36}" destId="{C08F212E-D010-4B1B-884C-243E8BB88BD2}"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1D8DF795-CB39-4054-BBA1-B0351DED23D3}" type="presParOf" srcId="{C08F212E-D010-4B1B-884C-243E8BB88BD2}" destId="{A042C0D5-6636-40E8-83EA-703099528EDB}" srcOrd="0" destOrd="0" presId="urn:microsoft.com/office/officeart/2005/8/layout/list1"/>
    <dgm:cxn modelId="{2F48AE94-FA1A-4106-84C8-EE5CB12BE0FD}" type="presParOf" srcId="{A042C0D5-6636-40E8-83EA-703099528EDB}" destId="{03DB856F-DE91-4CA0-AD05-B356DE21BFDC}" srcOrd="0" destOrd="0" presId="urn:microsoft.com/office/officeart/2005/8/layout/list1"/>
    <dgm:cxn modelId="{4FC2C234-9F5E-4E69-B7DC-5FBAFE49ADCC}" type="presParOf" srcId="{A042C0D5-6636-40E8-83EA-703099528EDB}" destId="{21D380AD-5D38-4835-9FB5-615E5454C686}" srcOrd="1" destOrd="0" presId="urn:microsoft.com/office/officeart/2005/8/layout/list1"/>
    <dgm:cxn modelId="{1FEDDFB7-C7B8-4181-933F-BDE349BE0AD8}" type="presParOf" srcId="{C08F212E-D010-4B1B-884C-243E8BB88BD2}" destId="{E77B3B8A-36B6-4AF7-9D59-DF889FA8E07C}" srcOrd="1" destOrd="0" presId="urn:microsoft.com/office/officeart/2005/8/layout/list1"/>
    <dgm:cxn modelId="{779BEF12-0CDA-4B77-9C1C-511516D64F7C}"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21.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algn="l" rtl="0"/>
          <a:r>
            <a:rPr lang="it-IT" sz="1200" b="1" dirty="0" smtClean="0">
              <a:effectLst>
                <a:outerShdw blurRad="38100" dist="38100" dir="2700000" algn="tl">
                  <a:srgbClr val="000000">
                    <a:alpha val="43137"/>
                  </a:srgbClr>
                </a:outerShdw>
              </a:effectLst>
            </a:rPr>
            <a:t>4. Ruolo dell’innovazione sociale</a:t>
          </a:r>
          <a:endParaRPr lang="it-IT" sz="12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custScaleX="142997" custScaleY="78457">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custScaleY="90321">
        <dgm:presLayoutVars>
          <dgm:bulletEnabled val="1"/>
        </dgm:presLayoutVars>
      </dgm:prSet>
      <dgm:spPr/>
    </dgm:pt>
  </dgm:ptLst>
  <dgm:cxnLst>
    <dgm:cxn modelId="{D2F95843-15E7-4D3A-B85D-AA4C41143CD5}" type="presOf" srcId="{E4C7AF03-E2BD-4E48-8DAB-C1261D3D7EA9}" destId="{03DB856F-DE91-4CA0-AD05-B356DE21BFDC}" srcOrd="0" destOrd="0" presId="urn:microsoft.com/office/officeart/2005/8/layout/list1"/>
    <dgm:cxn modelId="{11BFCF06-8745-482F-9FD3-2C7EB9DEB2EE}" type="presOf" srcId="{188FD03C-7D6A-4D29-8FCB-9C1383057E36}" destId="{C08F212E-D010-4B1B-884C-243E8BB88BD2}" srcOrd="0" destOrd="0" presId="urn:microsoft.com/office/officeart/2005/8/layout/list1"/>
    <dgm:cxn modelId="{38795454-55FC-4AD2-8448-703F969A911E}" type="presOf" srcId="{E4C7AF03-E2BD-4E48-8DAB-C1261D3D7EA9}" destId="{21D380AD-5D38-4835-9FB5-615E5454C686}" srcOrd="1"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39CC793E-D670-4766-A401-26B3C26AAC75}" type="presParOf" srcId="{C08F212E-D010-4B1B-884C-243E8BB88BD2}" destId="{A042C0D5-6636-40E8-83EA-703099528EDB}" srcOrd="0" destOrd="0" presId="urn:microsoft.com/office/officeart/2005/8/layout/list1"/>
    <dgm:cxn modelId="{5A1364B6-B875-447C-A525-D2AEC73CCE2C}" type="presParOf" srcId="{A042C0D5-6636-40E8-83EA-703099528EDB}" destId="{03DB856F-DE91-4CA0-AD05-B356DE21BFDC}" srcOrd="0" destOrd="0" presId="urn:microsoft.com/office/officeart/2005/8/layout/list1"/>
    <dgm:cxn modelId="{77F9C15A-9C9C-4744-A1B2-D808AE12CA45}" type="presParOf" srcId="{A042C0D5-6636-40E8-83EA-703099528EDB}" destId="{21D380AD-5D38-4835-9FB5-615E5454C686}" srcOrd="1" destOrd="0" presId="urn:microsoft.com/office/officeart/2005/8/layout/list1"/>
    <dgm:cxn modelId="{63227C62-9A25-4E4C-B7F0-FCBB77C05D41}" type="presParOf" srcId="{C08F212E-D010-4B1B-884C-243E8BB88BD2}" destId="{E77B3B8A-36B6-4AF7-9D59-DF889FA8E07C}" srcOrd="1" destOrd="0" presId="urn:microsoft.com/office/officeart/2005/8/layout/list1"/>
    <dgm:cxn modelId="{7B9F2371-1EC3-4BE5-BA8D-E3E1A4F9DCCA}"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122.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algn="l" rtl="0"/>
          <a:r>
            <a:rPr lang="it-IT" sz="1200" b="1" dirty="0" smtClean="0">
              <a:effectLst>
                <a:outerShdw blurRad="38100" dist="38100" dir="2700000" algn="tl">
                  <a:srgbClr val="000000">
                    <a:alpha val="43137"/>
                  </a:srgbClr>
                </a:outerShdw>
              </a:effectLst>
            </a:rPr>
            <a:t>5. Intersezione con altri ambiti tecnologici e produttivi</a:t>
          </a:r>
          <a:endParaRPr lang="it-IT" sz="1200" b="1"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custScaleX="127709" custScaleY="78457">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custScaleY="90321">
        <dgm:presLayoutVars>
          <dgm:bulletEnabled val="1"/>
        </dgm:presLayoutVars>
      </dgm:prSet>
      <dgm:spPr/>
    </dgm:pt>
  </dgm:ptLst>
  <dgm:cxnLst>
    <dgm:cxn modelId="{C62DF16B-66B3-4DD6-9D3E-CD3BE4E7AB95}" type="presOf" srcId="{E4C7AF03-E2BD-4E48-8DAB-C1261D3D7EA9}" destId="{21D380AD-5D38-4835-9FB5-615E5454C686}" srcOrd="1" destOrd="0" presId="urn:microsoft.com/office/officeart/2005/8/layout/list1"/>
    <dgm:cxn modelId="{9E9E4C5B-BE01-4CAA-B09F-39CFDAB48F36}" type="presOf" srcId="{188FD03C-7D6A-4D29-8FCB-9C1383057E36}" destId="{C08F212E-D010-4B1B-884C-243E8BB88BD2}" srcOrd="0" destOrd="0" presId="urn:microsoft.com/office/officeart/2005/8/layout/list1"/>
    <dgm:cxn modelId="{6B25FC58-9136-4AC7-8854-F1A17447D0B1}" type="presOf" srcId="{E4C7AF03-E2BD-4E48-8DAB-C1261D3D7EA9}" destId="{03DB856F-DE91-4CA0-AD05-B356DE21BFDC}"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18BEDD26-E376-453F-9521-3B964717D3A1}" type="presParOf" srcId="{C08F212E-D010-4B1B-884C-243E8BB88BD2}" destId="{A042C0D5-6636-40E8-83EA-703099528EDB}" srcOrd="0" destOrd="0" presId="urn:microsoft.com/office/officeart/2005/8/layout/list1"/>
    <dgm:cxn modelId="{E6B095FD-AB87-4427-A0DE-38B383FE1B69}" type="presParOf" srcId="{A042C0D5-6636-40E8-83EA-703099528EDB}" destId="{03DB856F-DE91-4CA0-AD05-B356DE21BFDC}" srcOrd="0" destOrd="0" presId="urn:microsoft.com/office/officeart/2005/8/layout/list1"/>
    <dgm:cxn modelId="{77F33B28-38DA-4511-BA5F-ED3D9147F452}" type="presParOf" srcId="{A042C0D5-6636-40E8-83EA-703099528EDB}" destId="{21D380AD-5D38-4835-9FB5-615E5454C686}" srcOrd="1" destOrd="0" presId="urn:microsoft.com/office/officeart/2005/8/layout/list1"/>
    <dgm:cxn modelId="{F992EA7E-B3DD-4D87-AB3E-F755A52D9317}" type="presParOf" srcId="{C08F212E-D010-4B1B-884C-243E8BB88BD2}" destId="{E77B3B8A-36B6-4AF7-9D59-DF889FA8E07C}" srcOrd="1" destOrd="0" presId="urn:microsoft.com/office/officeart/2005/8/layout/list1"/>
    <dgm:cxn modelId="{09FE2000-6A0F-439C-B4F8-11D690FB8E06}"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123.xml><?xml version="1.0" encoding="utf-8"?>
<dgm:dataModel xmlns:dgm="http://schemas.openxmlformats.org/drawingml/2006/diagram" xmlns:a="http://schemas.openxmlformats.org/drawingml/2006/main">
  <dgm:ptLst>
    <dgm:pt modelId="{E0ED3B49-5A11-4D59-AE32-316830E8272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it-IT"/>
        </a:p>
      </dgm:t>
    </dgm:pt>
    <dgm:pt modelId="{21B9E105-4120-4931-9DED-1780A135430E}">
      <dgm:prSet phldrT="[Testo]" custT="1"/>
      <dgm:spPr/>
      <dgm:t>
        <a:bodyPr/>
        <a:lstStyle/>
        <a:p>
          <a:r>
            <a:rPr lang="it-IT" sz="2000" dirty="0" smtClean="0"/>
            <a:t>Impegni e scadenze</a:t>
          </a:r>
          <a:endParaRPr lang="it-IT" sz="2000" dirty="0"/>
        </a:p>
      </dgm:t>
    </dgm:pt>
    <dgm:pt modelId="{2AA545A5-64CB-422B-A8FF-59230265256D}" type="parTrans" cxnId="{99D6C6C3-887C-4B03-95D7-3134CD93B8D3}">
      <dgm:prSet/>
      <dgm:spPr/>
      <dgm:t>
        <a:bodyPr/>
        <a:lstStyle/>
        <a:p>
          <a:endParaRPr lang="it-IT" sz="2800"/>
        </a:p>
      </dgm:t>
    </dgm:pt>
    <dgm:pt modelId="{424A1DCB-DA84-4266-8F48-089C52AB9F7F}" type="sibTrans" cxnId="{99D6C6C3-887C-4B03-95D7-3134CD93B8D3}">
      <dgm:prSet/>
      <dgm:spPr/>
      <dgm:t>
        <a:bodyPr/>
        <a:lstStyle/>
        <a:p>
          <a:endParaRPr lang="it-IT" sz="2800"/>
        </a:p>
      </dgm:t>
    </dgm:pt>
    <dgm:pt modelId="{9AC02135-2974-4C19-8010-CE3C17B01F5F}">
      <dgm:prSet phldrT="[Testo]" custT="1"/>
      <dgm:spPr/>
      <dgm:t>
        <a:bodyPr/>
        <a:lstStyle/>
        <a:p>
          <a:r>
            <a:rPr lang="it-IT" sz="2800" dirty="0" smtClean="0"/>
            <a:t>Condivisione piano di lavoro </a:t>
          </a:r>
          <a:endParaRPr lang="it-IT" sz="2800" dirty="0"/>
        </a:p>
      </dgm:t>
    </dgm:pt>
    <dgm:pt modelId="{0AC746BA-0D67-450D-98DC-FDD762B0CE91}" type="parTrans" cxnId="{B3620282-C1E0-4524-8237-8F82AF3112EC}">
      <dgm:prSet/>
      <dgm:spPr/>
      <dgm:t>
        <a:bodyPr/>
        <a:lstStyle/>
        <a:p>
          <a:endParaRPr lang="it-IT" sz="2800"/>
        </a:p>
      </dgm:t>
    </dgm:pt>
    <dgm:pt modelId="{F59CF7C0-EA04-4357-8732-7FBB15CBCF87}" type="sibTrans" cxnId="{B3620282-C1E0-4524-8237-8F82AF3112EC}">
      <dgm:prSet/>
      <dgm:spPr/>
      <dgm:t>
        <a:bodyPr/>
        <a:lstStyle/>
        <a:p>
          <a:endParaRPr lang="it-IT" sz="2800"/>
        </a:p>
      </dgm:t>
    </dgm:pt>
    <dgm:pt modelId="{E51596C8-E472-4DC4-B223-8F0592DBD454}">
      <dgm:prSet phldrT="[Testo]" custT="1"/>
      <dgm:spPr/>
      <dgm:t>
        <a:bodyPr/>
        <a:lstStyle/>
        <a:p>
          <a:r>
            <a:rPr lang="it-IT" sz="2400" dirty="0" smtClean="0"/>
            <a:t>Format contributi </a:t>
          </a:r>
          <a:endParaRPr lang="it-IT" sz="2400" dirty="0"/>
        </a:p>
      </dgm:t>
    </dgm:pt>
    <dgm:pt modelId="{030957A7-C92B-4510-8D61-EF277EE39BBA}" type="parTrans" cxnId="{80358FFA-CDD6-400D-A452-6631FDAF80A8}">
      <dgm:prSet/>
      <dgm:spPr/>
      <dgm:t>
        <a:bodyPr/>
        <a:lstStyle/>
        <a:p>
          <a:endParaRPr lang="it-IT" sz="2800"/>
        </a:p>
      </dgm:t>
    </dgm:pt>
    <dgm:pt modelId="{5242C4EC-2912-4C8A-B63F-8B02EDD2B286}" type="sibTrans" cxnId="{80358FFA-CDD6-400D-A452-6631FDAF80A8}">
      <dgm:prSet/>
      <dgm:spPr/>
      <dgm:t>
        <a:bodyPr/>
        <a:lstStyle/>
        <a:p>
          <a:endParaRPr lang="it-IT" sz="2800"/>
        </a:p>
      </dgm:t>
    </dgm:pt>
    <dgm:pt modelId="{49BA2AC9-8961-4AAF-BCBF-4F09610E496A}">
      <dgm:prSet phldrT="[Testo]" custT="1"/>
      <dgm:spPr/>
      <dgm:t>
        <a:bodyPr/>
        <a:lstStyle/>
        <a:p>
          <a:r>
            <a:rPr lang="it-IT" sz="2800" dirty="0" smtClean="0"/>
            <a:t>Presentazione e chiarimenti per la compilazione del format</a:t>
          </a:r>
          <a:endParaRPr lang="it-IT" sz="2800" dirty="0"/>
        </a:p>
      </dgm:t>
    </dgm:pt>
    <dgm:pt modelId="{0620C290-809D-4A54-8A77-D640270E55E5}" type="parTrans" cxnId="{F9927A68-4F1F-4497-848F-A1FD62B19E09}">
      <dgm:prSet/>
      <dgm:spPr/>
      <dgm:t>
        <a:bodyPr/>
        <a:lstStyle/>
        <a:p>
          <a:endParaRPr lang="it-IT" sz="2800"/>
        </a:p>
      </dgm:t>
    </dgm:pt>
    <dgm:pt modelId="{7B925CFB-03A6-47B8-84D5-838C5BED5BCE}" type="sibTrans" cxnId="{F9927A68-4F1F-4497-848F-A1FD62B19E09}">
      <dgm:prSet/>
      <dgm:spPr/>
      <dgm:t>
        <a:bodyPr/>
        <a:lstStyle/>
        <a:p>
          <a:endParaRPr lang="it-IT" sz="2800"/>
        </a:p>
      </dgm:t>
    </dgm:pt>
    <dgm:pt modelId="{5CABB013-C727-4154-8D37-4F0D43D878B9}">
      <dgm:prSet phldrT="[Testo]" custT="1"/>
      <dgm:spPr/>
      <dgm:t>
        <a:bodyPr/>
        <a:lstStyle/>
        <a:p>
          <a:r>
            <a:rPr lang="it-IT" sz="2400" dirty="0" smtClean="0"/>
            <a:t>Strumenti e modalità di lavoro</a:t>
          </a:r>
          <a:endParaRPr lang="it-IT" sz="2400" dirty="0"/>
        </a:p>
      </dgm:t>
    </dgm:pt>
    <dgm:pt modelId="{64295AD3-2413-4061-A8D8-E59D147D6AE3}" type="parTrans" cxnId="{E78B13C4-6749-451D-B158-EA8545CB6490}">
      <dgm:prSet/>
      <dgm:spPr/>
      <dgm:t>
        <a:bodyPr/>
        <a:lstStyle/>
        <a:p>
          <a:endParaRPr lang="it-IT" sz="2800"/>
        </a:p>
      </dgm:t>
    </dgm:pt>
    <dgm:pt modelId="{4294BCD3-B897-4FAE-89BE-84A6ABAD3262}" type="sibTrans" cxnId="{E78B13C4-6749-451D-B158-EA8545CB6490}">
      <dgm:prSet/>
      <dgm:spPr/>
      <dgm:t>
        <a:bodyPr/>
        <a:lstStyle/>
        <a:p>
          <a:endParaRPr lang="it-IT" sz="2800"/>
        </a:p>
      </dgm:t>
    </dgm:pt>
    <dgm:pt modelId="{08B2197F-4041-498B-A9A2-D922A43DB1B0}">
      <dgm:prSet phldrT="[Testo]" custT="1"/>
      <dgm:spPr/>
      <dgm:t>
        <a:bodyPr/>
        <a:lstStyle/>
        <a:p>
          <a:r>
            <a:rPr lang="it-IT" sz="2400" dirty="0" smtClean="0"/>
            <a:t>Forum discussione http://www.innovatoripa.it/groups/strategia-innovazione-sicilia</a:t>
          </a:r>
          <a:endParaRPr lang="it-IT" sz="2400" dirty="0"/>
        </a:p>
      </dgm:t>
    </dgm:pt>
    <dgm:pt modelId="{B0805DE2-505B-42BA-B897-F7A71747B9AF}" type="parTrans" cxnId="{18323BEF-6A56-4242-A976-1BA8079A813D}">
      <dgm:prSet/>
      <dgm:spPr/>
      <dgm:t>
        <a:bodyPr/>
        <a:lstStyle/>
        <a:p>
          <a:endParaRPr lang="it-IT" sz="2800"/>
        </a:p>
      </dgm:t>
    </dgm:pt>
    <dgm:pt modelId="{DAE6374E-10D7-4AD2-953F-848ABFC5F6E4}" type="sibTrans" cxnId="{18323BEF-6A56-4242-A976-1BA8079A813D}">
      <dgm:prSet/>
      <dgm:spPr/>
      <dgm:t>
        <a:bodyPr/>
        <a:lstStyle/>
        <a:p>
          <a:endParaRPr lang="it-IT" sz="2800"/>
        </a:p>
      </dgm:t>
    </dgm:pt>
    <dgm:pt modelId="{E6F0EC14-5532-496A-92E3-BADAB825C01A}">
      <dgm:prSet phldrT="[Testo]" phldr="1" custT="1"/>
      <dgm:spPr/>
      <dgm:t>
        <a:bodyPr/>
        <a:lstStyle/>
        <a:p>
          <a:endParaRPr lang="it-IT" sz="2800" dirty="0"/>
        </a:p>
      </dgm:t>
    </dgm:pt>
    <dgm:pt modelId="{6F305726-EE88-45F8-BF6C-EF530CD18A78}" type="sibTrans" cxnId="{E692CC85-CBDD-4192-BD4D-6817A8491EEE}">
      <dgm:prSet/>
      <dgm:spPr/>
      <dgm:t>
        <a:bodyPr/>
        <a:lstStyle/>
        <a:p>
          <a:endParaRPr lang="it-IT" sz="2800"/>
        </a:p>
      </dgm:t>
    </dgm:pt>
    <dgm:pt modelId="{D9B4CD02-F473-418F-A620-E1659D0FC0E0}" type="parTrans" cxnId="{E692CC85-CBDD-4192-BD4D-6817A8491EEE}">
      <dgm:prSet/>
      <dgm:spPr/>
      <dgm:t>
        <a:bodyPr/>
        <a:lstStyle/>
        <a:p>
          <a:endParaRPr lang="it-IT" sz="2800"/>
        </a:p>
      </dgm:t>
    </dgm:pt>
    <dgm:pt modelId="{E2BD00C0-7E72-4721-9A6B-E7D2AFFD0DC2}" type="pres">
      <dgm:prSet presAssocID="{E0ED3B49-5A11-4D59-AE32-316830E82720}" presName="Name0" presStyleCnt="0">
        <dgm:presLayoutVars>
          <dgm:dir/>
          <dgm:animLvl val="lvl"/>
          <dgm:resizeHandles val="exact"/>
        </dgm:presLayoutVars>
      </dgm:prSet>
      <dgm:spPr/>
      <dgm:t>
        <a:bodyPr/>
        <a:lstStyle/>
        <a:p>
          <a:endParaRPr lang="it-IT"/>
        </a:p>
      </dgm:t>
    </dgm:pt>
    <dgm:pt modelId="{0AFD280F-61D0-4EE9-B52F-FB2446A99276}" type="pres">
      <dgm:prSet presAssocID="{21B9E105-4120-4931-9DED-1780A135430E}" presName="composite" presStyleCnt="0"/>
      <dgm:spPr/>
    </dgm:pt>
    <dgm:pt modelId="{F5867A7D-84CC-4ABF-B0E6-DF9F283923CF}" type="pres">
      <dgm:prSet presAssocID="{21B9E105-4120-4931-9DED-1780A135430E}" presName="parTx" presStyleLbl="alignNode1" presStyleIdx="0" presStyleCnt="3">
        <dgm:presLayoutVars>
          <dgm:chMax val="0"/>
          <dgm:chPref val="0"/>
          <dgm:bulletEnabled val="1"/>
        </dgm:presLayoutVars>
      </dgm:prSet>
      <dgm:spPr/>
      <dgm:t>
        <a:bodyPr/>
        <a:lstStyle/>
        <a:p>
          <a:endParaRPr lang="it-IT"/>
        </a:p>
      </dgm:t>
    </dgm:pt>
    <dgm:pt modelId="{1BD922C1-C6AF-40E3-BC00-4A2C5AD342A7}" type="pres">
      <dgm:prSet presAssocID="{21B9E105-4120-4931-9DED-1780A135430E}" presName="desTx" presStyleLbl="alignAccFollowNode1" presStyleIdx="0" presStyleCnt="3">
        <dgm:presLayoutVars>
          <dgm:bulletEnabled val="1"/>
        </dgm:presLayoutVars>
      </dgm:prSet>
      <dgm:spPr/>
      <dgm:t>
        <a:bodyPr/>
        <a:lstStyle/>
        <a:p>
          <a:endParaRPr lang="it-IT"/>
        </a:p>
      </dgm:t>
    </dgm:pt>
    <dgm:pt modelId="{C617589D-382A-43D9-89AF-4B7973CBDBC0}" type="pres">
      <dgm:prSet presAssocID="{424A1DCB-DA84-4266-8F48-089C52AB9F7F}" presName="space" presStyleCnt="0"/>
      <dgm:spPr/>
    </dgm:pt>
    <dgm:pt modelId="{EF862726-283D-4875-A6F8-9EABAC66B829}" type="pres">
      <dgm:prSet presAssocID="{E51596C8-E472-4DC4-B223-8F0592DBD454}" presName="composite" presStyleCnt="0"/>
      <dgm:spPr/>
    </dgm:pt>
    <dgm:pt modelId="{7F2A340E-59E4-4175-8854-BFDFADCB71D4}" type="pres">
      <dgm:prSet presAssocID="{E51596C8-E472-4DC4-B223-8F0592DBD454}" presName="parTx" presStyleLbl="alignNode1" presStyleIdx="1" presStyleCnt="3">
        <dgm:presLayoutVars>
          <dgm:chMax val="0"/>
          <dgm:chPref val="0"/>
          <dgm:bulletEnabled val="1"/>
        </dgm:presLayoutVars>
      </dgm:prSet>
      <dgm:spPr/>
      <dgm:t>
        <a:bodyPr/>
        <a:lstStyle/>
        <a:p>
          <a:endParaRPr lang="it-IT"/>
        </a:p>
      </dgm:t>
    </dgm:pt>
    <dgm:pt modelId="{94513309-A0E9-4D0F-A5A0-10C1399E3A82}" type="pres">
      <dgm:prSet presAssocID="{E51596C8-E472-4DC4-B223-8F0592DBD454}" presName="desTx" presStyleLbl="alignAccFollowNode1" presStyleIdx="1" presStyleCnt="3">
        <dgm:presLayoutVars>
          <dgm:bulletEnabled val="1"/>
        </dgm:presLayoutVars>
      </dgm:prSet>
      <dgm:spPr/>
      <dgm:t>
        <a:bodyPr/>
        <a:lstStyle/>
        <a:p>
          <a:endParaRPr lang="it-IT"/>
        </a:p>
      </dgm:t>
    </dgm:pt>
    <dgm:pt modelId="{A612A666-3B3F-4DA4-98DB-2C4E364E71E7}" type="pres">
      <dgm:prSet presAssocID="{5242C4EC-2912-4C8A-B63F-8B02EDD2B286}" presName="space" presStyleCnt="0"/>
      <dgm:spPr/>
    </dgm:pt>
    <dgm:pt modelId="{AE79901A-994D-4900-BA52-E3CCDF157C1A}" type="pres">
      <dgm:prSet presAssocID="{5CABB013-C727-4154-8D37-4F0D43D878B9}" presName="composite" presStyleCnt="0"/>
      <dgm:spPr/>
    </dgm:pt>
    <dgm:pt modelId="{A49B64DD-D913-4BEC-83CF-83365F2FB831}" type="pres">
      <dgm:prSet presAssocID="{5CABB013-C727-4154-8D37-4F0D43D878B9}" presName="parTx" presStyleLbl="alignNode1" presStyleIdx="2" presStyleCnt="3" custLinFactNeighborX="2749">
        <dgm:presLayoutVars>
          <dgm:chMax val="0"/>
          <dgm:chPref val="0"/>
          <dgm:bulletEnabled val="1"/>
        </dgm:presLayoutVars>
      </dgm:prSet>
      <dgm:spPr/>
      <dgm:t>
        <a:bodyPr/>
        <a:lstStyle/>
        <a:p>
          <a:endParaRPr lang="it-IT"/>
        </a:p>
      </dgm:t>
    </dgm:pt>
    <dgm:pt modelId="{5E16153D-110E-4957-9859-E9281CCD6FF8}" type="pres">
      <dgm:prSet presAssocID="{5CABB013-C727-4154-8D37-4F0D43D878B9}" presName="desTx" presStyleLbl="alignAccFollowNode1" presStyleIdx="2" presStyleCnt="3">
        <dgm:presLayoutVars>
          <dgm:bulletEnabled val="1"/>
        </dgm:presLayoutVars>
      </dgm:prSet>
      <dgm:spPr/>
      <dgm:t>
        <a:bodyPr/>
        <a:lstStyle/>
        <a:p>
          <a:endParaRPr lang="it-IT"/>
        </a:p>
      </dgm:t>
    </dgm:pt>
  </dgm:ptLst>
  <dgm:cxnLst>
    <dgm:cxn modelId="{F9927A68-4F1F-4497-848F-A1FD62B19E09}" srcId="{E51596C8-E472-4DC4-B223-8F0592DBD454}" destId="{49BA2AC9-8961-4AAF-BCBF-4F09610E496A}" srcOrd="0" destOrd="0" parTransId="{0620C290-809D-4A54-8A77-D640270E55E5}" sibTransId="{7B925CFB-03A6-47B8-84D5-838C5BED5BCE}"/>
    <dgm:cxn modelId="{18323BEF-6A56-4242-A976-1BA8079A813D}" srcId="{5CABB013-C727-4154-8D37-4F0D43D878B9}" destId="{08B2197F-4041-498B-A9A2-D922A43DB1B0}" srcOrd="0" destOrd="0" parTransId="{B0805DE2-505B-42BA-B897-F7A71747B9AF}" sibTransId="{DAE6374E-10D7-4AD2-953F-848ABFC5F6E4}"/>
    <dgm:cxn modelId="{6EF033F5-EACA-402B-B398-4773B10B7772}" type="presOf" srcId="{21B9E105-4120-4931-9DED-1780A135430E}" destId="{F5867A7D-84CC-4ABF-B0E6-DF9F283923CF}" srcOrd="0" destOrd="0" presId="urn:microsoft.com/office/officeart/2005/8/layout/hList1"/>
    <dgm:cxn modelId="{8A75E648-4C74-4C14-B7FA-2FBA69FCEAFE}" type="presOf" srcId="{E51596C8-E472-4DC4-B223-8F0592DBD454}" destId="{7F2A340E-59E4-4175-8854-BFDFADCB71D4}" srcOrd="0" destOrd="0" presId="urn:microsoft.com/office/officeart/2005/8/layout/hList1"/>
    <dgm:cxn modelId="{730AC6A6-48F8-446C-BDDC-F987583F9023}" type="presOf" srcId="{E0ED3B49-5A11-4D59-AE32-316830E82720}" destId="{E2BD00C0-7E72-4721-9A6B-E7D2AFFD0DC2}" srcOrd="0" destOrd="0" presId="urn:microsoft.com/office/officeart/2005/8/layout/hList1"/>
    <dgm:cxn modelId="{80358FFA-CDD6-400D-A452-6631FDAF80A8}" srcId="{E0ED3B49-5A11-4D59-AE32-316830E82720}" destId="{E51596C8-E472-4DC4-B223-8F0592DBD454}" srcOrd="1" destOrd="0" parTransId="{030957A7-C92B-4510-8D61-EF277EE39BBA}" sibTransId="{5242C4EC-2912-4C8A-B63F-8B02EDD2B286}"/>
    <dgm:cxn modelId="{E692CC85-CBDD-4192-BD4D-6817A8491EEE}" srcId="{5CABB013-C727-4154-8D37-4F0D43D878B9}" destId="{E6F0EC14-5532-496A-92E3-BADAB825C01A}" srcOrd="1" destOrd="0" parTransId="{D9B4CD02-F473-418F-A620-E1659D0FC0E0}" sibTransId="{6F305726-EE88-45F8-BF6C-EF530CD18A78}"/>
    <dgm:cxn modelId="{D43304B9-48E2-4B08-8781-7ABEAE5682B2}" type="presOf" srcId="{E6F0EC14-5532-496A-92E3-BADAB825C01A}" destId="{5E16153D-110E-4957-9859-E9281CCD6FF8}" srcOrd="0" destOrd="1" presId="urn:microsoft.com/office/officeart/2005/8/layout/hList1"/>
    <dgm:cxn modelId="{E5559B64-028A-4705-A4F3-21A584D759DD}" type="presOf" srcId="{5CABB013-C727-4154-8D37-4F0D43D878B9}" destId="{A49B64DD-D913-4BEC-83CF-83365F2FB831}" srcOrd="0" destOrd="0" presId="urn:microsoft.com/office/officeart/2005/8/layout/hList1"/>
    <dgm:cxn modelId="{B5B61DEE-BEB0-40BC-B767-19081D94DA57}" type="presOf" srcId="{08B2197F-4041-498B-A9A2-D922A43DB1B0}" destId="{5E16153D-110E-4957-9859-E9281CCD6FF8}" srcOrd="0" destOrd="0" presId="urn:microsoft.com/office/officeart/2005/8/layout/hList1"/>
    <dgm:cxn modelId="{E78B13C4-6749-451D-B158-EA8545CB6490}" srcId="{E0ED3B49-5A11-4D59-AE32-316830E82720}" destId="{5CABB013-C727-4154-8D37-4F0D43D878B9}" srcOrd="2" destOrd="0" parTransId="{64295AD3-2413-4061-A8D8-E59D147D6AE3}" sibTransId="{4294BCD3-B897-4FAE-89BE-84A6ABAD3262}"/>
    <dgm:cxn modelId="{2FDB6018-D0D8-4CEE-9831-3E2FEA78502C}" type="presOf" srcId="{9AC02135-2974-4C19-8010-CE3C17B01F5F}" destId="{1BD922C1-C6AF-40E3-BC00-4A2C5AD342A7}" srcOrd="0" destOrd="0" presId="urn:microsoft.com/office/officeart/2005/8/layout/hList1"/>
    <dgm:cxn modelId="{B3620282-C1E0-4524-8237-8F82AF3112EC}" srcId="{21B9E105-4120-4931-9DED-1780A135430E}" destId="{9AC02135-2974-4C19-8010-CE3C17B01F5F}" srcOrd="0" destOrd="0" parTransId="{0AC746BA-0D67-450D-98DC-FDD762B0CE91}" sibTransId="{F59CF7C0-EA04-4357-8732-7FBB15CBCF87}"/>
    <dgm:cxn modelId="{99D6C6C3-887C-4B03-95D7-3134CD93B8D3}" srcId="{E0ED3B49-5A11-4D59-AE32-316830E82720}" destId="{21B9E105-4120-4931-9DED-1780A135430E}" srcOrd="0" destOrd="0" parTransId="{2AA545A5-64CB-422B-A8FF-59230265256D}" sibTransId="{424A1DCB-DA84-4266-8F48-089C52AB9F7F}"/>
    <dgm:cxn modelId="{5D652BA6-1E15-46D9-AE56-1F33B9E60832}" type="presOf" srcId="{49BA2AC9-8961-4AAF-BCBF-4F09610E496A}" destId="{94513309-A0E9-4D0F-A5A0-10C1399E3A82}" srcOrd="0" destOrd="0" presId="urn:microsoft.com/office/officeart/2005/8/layout/hList1"/>
    <dgm:cxn modelId="{30C2D8FC-3456-4FEC-8B79-8A22EA8DA267}" type="presParOf" srcId="{E2BD00C0-7E72-4721-9A6B-E7D2AFFD0DC2}" destId="{0AFD280F-61D0-4EE9-B52F-FB2446A99276}" srcOrd="0" destOrd="0" presId="urn:microsoft.com/office/officeart/2005/8/layout/hList1"/>
    <dgm:cxn modelId="{537D976B-759D-408E-957A-DDC894DE2559}" type="presParOf" srcId="{0AFD280F-61D0-4EE9-B52F-FB2446A99276}" destId="{F5867A7D-84CC-4ABF-B0E6-DF9F283923CF}" srcOrd="0" destOrd="0" presId="urn:microsoft.com/office/officeart/2005/8/layout/hList1"/>
    <dgm:cxn modelId="{3AE8F095-D636-4421-8F80-1C122856ADF3}" type="presParOf" srcId="{0AFD280F-61D0-4EE9-B52F-FB2446A99276}" destId="{1BD922C1-C6AF-40E3-BC00-4A2C5AD342A7}" srcOrd="1" destOrd="0" presId="urn:microsoft.com/office/officeart/2005/8/layout/hList1"/>
    <dgm:cxn modelId="{9DC37F3C-07E0-4E2B-95F8-03B0E0DE2159}" type="presParOf" srcId="{E2BD00C0-7E72-4721-9A6B-E7D2AFFD0DC2}" destId="{C617589D-382A-43D9-89AF-4B7973CBDBC0}" srcOrd="1" destOrd="0" presId="urn:microsoft.com/office/officeart/2005/8/layout/hList1"/>
    <dgm:cxn modelId="{1391A1D2-45B5-4531-92F7-43F5B34E1363}" type="presParOf" srcId="{E2BD00C0-7E72-4721-9A6B-E7D2AFFD0DC2}" destId="{EF862726-283D-4875-A6F8-9EABAC66B829}" srcOrd="2" destOrd="0" presId="urn:microsoft.com/office/officeart/2005/8/layout/hList1"/>
    <dgm:cxn modelId="{315B7335-928A-44E3-AED6-E392CFCE948C}" type="presParOf" srcId="{EF862726-283D-4875-A6F8-9EABAC66B829}" destId="{7F2A340E-59E4-4175-8854-BFDFADCB71D4}" srcOrd="0" destOrd="0" presId="urn:microsoft.com/office/officeart/2005/8/layout/hList1"/>
    <dgm:cxn modelId="{343CF710-2AD5-4EB9-8736-56563533FA0A}" type="presParOf" srcId="{EF862726-283D-4875-A6F8-9EABAC66B829}" destId="{94513309-A0E9-4D0F-A5A0-10C1399E3A82}" srcOrd="1" destOrd="0" presId="urn:microsoft.com/office/officeart/2005/8/layout/hList1"/>
    <dgm:cxn modelId="{C497F174-F32F-496E-BA54-7FEAC770AC55}" type="presParOf" srcId="{E2BD00C0-7E72-4721-9A6B-E7D2AFFD0DC2}" destId="{A612A666-3B3F-4DA4-98DB-2C4E364E71E7}" srcOrd="3" destOrd="0" presId="urn:microsoft.com/office/officeart/2005/8/layout/hList1"/>
    <dgm:cxn modelId="{560B9916-8300-491F-9DE1-B995F146C16C}" type="presParOf" srcId="{E2BD00C0-7E72-4721-9A6B-E7D2AFFD0DC2}" destId="{AE79901A-994D-4900-BA52-E3CCDF157C1A}" srcOrd="4" destOrd="0" presId="urn:microsoft.com/office/officeart/2005/8/layout/hList1"/>
    <dgm:cxn modelId="{F9E3EE4A-5A3A-4C69-9E6B-FA9C8EDBF58D}" type="presParOf" srcId="{AE79901A-994D-4900-BA52-E3CCDF157C1A}" destId="{A49B64DD-D913-4BEC-83CF-83365F2FB831}" srcOrd="0" destOrd="0" presId="urn:microsoft.com/office/officeart/2005/8/layout/hList1"/>
    <dgm:cxn modelId="{B1890F05-B0F3-435B-AB76-32B8BAFBBEAE}" type="presParOf" srcId="{AE79901A-994D-4900-BA52-E3CCDF157C1A}" destId="{5E16153D-110E-4957-9859-E9281CCD6FF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4.xml><?xml version="1.0" encoding="utf-8"?>
<dgm:dataModel xmlns:dgm="http://schemas.openxmlformats.org/drawingml/2006/diagram" xmlns:a="http://schemas.openxmlformats.org/drawingml/2006/main">
  <dgm:ptLst>
    <dgm:pt modelId="{E0ED3B49-5A11-4D59-AE32-316830E8272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it-IT"/>
        </a:p>
      </dgm:t>
    </dgm:pt>
    <dgm:pt modelId="{5CABB013-C727-4154-8D37-4F0D43D878B9}">
      <dgm:prSet phldrT="[Testo]" custT="1"/>
      <dgm:spPr/>
      <dgm:t>
        <a:bodyPr/>
        <a:lstStyle/>
        <a:p>
          <a:r>
            <a:rPr lang="it-IT" sz="2400" dirty="0" smtClean="0"/>
            <a:t>Strumenti e modalità di lavoro</a:t>
          </a:r>
          <a:endParaRPr lang="it-IT" sz="2400" dirty="0"/>
        </a:p>
      </dgm:t>
    </dgm:pt>
    <dgm:pt modelId="{64295AD3-2413-4061-A8D8-E59D147D6AE3}" type="parTrans" cxnId="{E78B13C4-6749-451D-B158-EA8545CB6490}">
      <dgm:prSet/>
      <dgm:spPr/>
      <dgm:t>
        <a:bodyPr/>
        <a:lstStyle/>
        <a:p>
          <a:endParaRPr lang="it-IT" sz="2800"/>
        </a:p>
      </dgm:t>
    </dgm:pt>
    <dgm:pt modelId="{4294BCD3-B897-4FAE-89BE-84A6ABAD3262}" type="sibTrans" cxnId="{E78B13C4-6749-451D-B158-EA8545CB6490}">
      <dgm:prSet/>
      <dgm:spPr/>
      <dgm:t>
        <a:bodyPr/>
        <a:lstStyle/>
        <a:p>
          <a:endParaRPr lang="it-IT" sz="2800"/>
        </a:p>
      </dgm:t>
    </dgm:pt>
    <dgm:pt modelId="{08B2197F-4041-498B-A9A2-D922A43DB1B0}">
      <dgm:prSet phldrT="[Testo]" custT="1"/>
      <dgm:spPr/>
      <dgm:t>
        <a:bodyPr/>
        <a:lstStyle/>
        <a:p>
          <a:r>
            <a:rPr lang="it-IT" sz="2400" dirty="0" smtClean="0"/>
            <a:t>Modalità di accesso comunità </a:t>
          </a:r>
          <a:r>
            <a:rPr lang="it-IT" sz="2400" dirty="0" err="1" smtClean="0"/>
            <a:t>InnovatoriPA</a:t>
          </a:r>
          <a:endParaRPr lang="it-IT" sz="2400" dirty="0"/>
        </a:p>
      </dgm:t>
    </dgm:pt>
    <dgm:pt modelId="{B0805DE2-505B-42BA-B897-F7A71747B9AF}" type="parTrans" cxnId="{18323BEF-6A56-4242-A976-1BA8079A813D}">
      <dgm:prSet/>
      <dgm:spPr/>
      <dgm:t>
        <a:bodyPr/>
        <a:lstStyle/>
        <a:p>
          <a:endParaRPr lang="it-IT" sz="2800"/>
        </a:p>
      </dgm:t>
    </dgm:pt>
    <dgm:pt modelId="{DAE6374E-10D7-4AD2-953F-848ABFC5F6E4}" type="sibTrans" cxnId="{18323BEF-6A56-4242-A976-1BA8079A813D}">
      <dgm:prSet/>
      <dgm:spPr/>
      <dgm:t>
        <a:bodyPr/>
        <a:lstStyle/>
        <a:p>
          <a:endParaRPr lang="it-IT" sz="2800"/>
        </a:p>
      </dgm:t>
    </dgm:pt>
    <dgm:pt modelId="{F80293C5-9B12-4F73-B1FC-5341342B0FA2}">
      <dgm:prSet phldrT="[Testo]" custT="1"/>
      <dgm:spPr/>
      <dgm:t>
        <a:bodyPr/>
        <a:lstStyle/>
        <a:p>
          <a:r>
            <a:rPr lang="it-IT" sz="2400" dirty="0" smtClean="0"/>
            <a:t>Download documenti (Slide tavolo, Slide Esperto, Piano lavoro, Format contributo</a:t>
          </a:r>
          <a:endParaRPr lang="it-IT" sz="2400" dirty="0"/>
        </a:p>
      </dgm:t>
    </dgm:pt>
    <dgm:pt modelId="{86557904-AB89-4A2B-9ACB-1ABB69BAB086}" type="parTrans" cxnId="{845A9FBB-9AB1-4EEA-9BAA-EFA493E8D780}">
      <dgm:prSet/>
      <dgm:spPr/>
      <dgm:t>
        <a:bodyPr/>
        <a:lstStyle/>
        <a:p>
          <a:endParaRPr lang="it-IT"/>
        </a:p>
      </dgm:t>
    </dgm:pt>
    <dgm:pt modelId="{75E80B86-89AF-4F7B-895E-991E6D78954B}" type="sibTrans" cxnId="{845A9FBB-9AB1-4EEA-9BAA-EFA493E8D780}">
      <dgm:prSet/>
      <dgm:spPr/>
      <dgm:t>
        <a:bodyPr/>
        <a:lstStyle/>
        <a:p>
          <a:endParaRPr lang="it-IT"/>
        </a:p>
      </dgm:t>
    </dgm:pt>
    <dgm:pt modelId="{0C1D7CF0-B1DE-4AFF-9EEC-68AA94BE4894}">
      <dgm:prSet phldrT="[Testo]" custT="1"/>
      <dgm:spPr/>
      <dgm:t>
        <a:bodyPr/>
        <a:lstStyle/>
        <a:p>
          <a:r>
            <a:rPr lang="it-IT" sz="2400" dirty="0" smtClean="0"/>
            <a:t>Caricamento contributo</a:t>
          </a:r>
          <a:endParaRPr lang="it-IT" sz="2400" dirty="0"/>
        </a:p>
      </dgm:t>
    </dgm:pt>
    <dgm:pt modelId="{9BC87F8D-6A47-4474-99E8-E68DB4ACF69B}" type="parTrans" cxnId="{366122DF-9F50-4282-A85F-CBACCB4E77F0}">
      <dgm:prSet/>
      <dgm:spPr/>
      <dgm:t>
        <a:bodyPr/>
        <a:lstStyle/>
        <a:p>
          <a:endParaRPr lang="it-IT"/>
        </a:p>
      </dgm:t>
    </dgm:pt>
    <dgm:pt modelId="{CB663712-A2F8-4FD2-80C0-D9CE44413293}" type="sibTrans" cxnId="{366122DF-9F50-4282-A85F-CBACCB4E77F0}">
      <dgm:prSet/>
      <dgm:spPr/>
      <dgm:t>
        <a:bodyPr/>
        <a:lstStyle/>
        <a:p>
          <a:endParaRPr lang="it-IT"/>
        </a:p>
      </dgm:t>
    </dgm:pt>
    <dgm:pt modelId="{31FA59E0-FC20-404A-ADDC-AA8009CE9774}">
      <dgm:prSet phldrT="[Testo]" custT="1"/>
      <dgm:spPr/>
      <dgm:t>
        <a:bodyPr/>
        <a:lstStyle/>
        <a:p>
          <a:r>
            <a:rPr lang="it-IT" sz="2400" dirty="0" smtClean="0"/>
            <a:t>Invio commenti </a:t>
          </a:r>
          <a:endParaRPr lang="it-IT" sz="2400" dirty="0"/>
        </a:p>
      </dgm:t>
    </dgm:pt>
    <dgm:pt modelId="{EAD2CDFC-DDB2-48BC-94DC-D06822F89299}" type="parTrans" cxnId="{E085E776-2789-4BD5-8786-927DC8E3F84D}">
      <dgm:prSet/>
      <dgm:spPr/>
      <dgm:t>
        <a:bodyPr/>
        <a:lstStyle/>
        <a:p>
          <a:endParaRPr lang="it-IT"/>
        </a:p>
      </dgm:t>
    </dgm:pt>
    <dgm:pt modelId="{8AFAA520-302D-49F3-B288-558F421D4A7A}" type="sibTrans" cxnId="{E085E776-2789-4BD5-8786-927DC8E3F84D}">
      <dgm:prSet/>
      <dgm:spPr/>
      <dgm:t>
        <a:bodyPr/>
        <a:lstStyle/>
        <a:p>
          <a:endParaRPr lang="it-IT"/>
        </a:p>
      </dgm:t>
    </dgm:pt>
    <dgm:pt modelId="{E2BD00C0-7E72-4721-9A6B-E7D2AFFD0DC2}" type="pres">
      <dgm:prSet presAssocID="{E0ED3B49-5A11-4D59-AE32-316830E82720}" presName="Name0" presStyleCnt="0">
        <dgm:presLayoutVars>
          <dgm:dir/>
          <dgm:animLvl val="lvl"/>
          <dgm:resizeHandles val="exact"/>
        </dgm:presLayoutVars>
      </dgm:prSet>
      <dgm:spPr/>
      <dgm:t>
        <a:bodyPr/>
        <a:lstStyle/>
        <a:p>
          <a:endParaRPr lang="it-IT"/>
        </a:p>
      </dgm:t>
    </dgm:pt>
    <dgm:pt modelId="{AE79901A-994D-4900-BA52-E3CCDF157C1A}" type="pres">
      <dgm:prSet presAssocID="{5CABB013-C727-4154-8D37-4F0D43D878B9}" presName="composite" presStyleCnt="0"/>
      <dgm:spPr/>
    </dgm:pt>
    <dgm:pt modelId="{A49B64DD-D913-4BEC-83CF-83365F2FB831}" type="pres">
      <dgm:prSet presAssocID="{5CABB013-C727-4154-8D37-4F0D43D878B9}" presName="parTx" presStyleLbl="alignNode1" presStyleIdx="0" presStyleCnt="1" custScaleY="100000" custLinFactNeighborX="2749">
        <dgm:presLayoutVars>
          <dgm:chMax val="0"/>
          <dgm:chPref val="0"/>
          <dgm:bulletEnabled val="1"/>
        </dgm:presLayoutVars>
      </dgm:prSet>
      <dgm:spPr/>
      <dgm:t>
        <a:bodyPr/>
        <a:lstStyle/>
        <a:p>
          <a:endParaRPr lang="it-IT"/>
        </a:p>
      </dgm:t>
    </dgm:pt>
    <dgm:pt modelId="{5E16153D-110E-4957-9859-E9281CCD6FF8}" type="pres">
      <dgm:prSet presAssocID="{5CABB013-C727-4154-8D37-4F0D43D878B9}" presName="desTx" presStyleLbl="alignAccFollowNode1" presStyleIdx="0" presStyleCnt="1">
        <dgm:presLayoutVars>
          <dgm:bulletEnabled val="1"/>
        </dgm:presLayoutVars>
      </dgm:prSet>
      <dgm:spPr/>
      <dgm:t>
        <a:bodyPr/>
        <a:lstStyle/>
        <a:p>
          <a:endParaRPr lang="it-IT"/>
        </a:p>
      </dgm:t>
    </dgm:pt>
  </dgm:ptLst>
  <dgm:cxnLst>
    <dgm:cxn modelId="{217BA5C3-4436-4A2E-AB34-FEAFCDBBD64E}" type="presOf" srcId="{08B2197F-4041-498B-A9A2-D922A43DB1B0}" destId="{5E16153D-110E-4957-9859-E9281CCD6FF8}" srcOrd="0" destOrd="0" presId="urn:microsoft.com/office/officeart/2005/8/layout/hList1"/>
    <dgm:cxn modelId="{06EBB585-F696-4CCE-98D6-317435BCB75F}" type="presOf" srcId="{31FA59E0-FC20-404A-ADDC-AA8009CE9774}" destId="{5E16153D-110E-4957-9859-E9281CCD6FF8}" srcOrd="0" destOrd="3" presId="urn:microsoft.com/office/officeart/2005/8/layout/hList1"/>
    <dgm:cxn modelId="{8618DF67-0F1C-498F-BFCE-9494E5A3AE1B}" type="presOf" srcId="{F80293C5-9B12-4F73-B1FC-5341342B0FA2}" destId="{5E16153D-110E-4957-9859-E9281CCD6FF8}" srcOrd="0" destOrd="1" presId="urn:microsoft.com/office/officeart/2005/8/layout/hList1"/>
    <dgm:cxn modelId="{B993063A-B47D-4E41-9FFF-B28557C434F1}" type="presOf" srcId="{5CABB013-C727-4154-8D37-4F0D43D878B9}" destId="{A49B64DD-D913-4BEC-83CF-83365F2FB831}" srcOrd="0" destOrd="0" presId="urn:microsoft.com/office/officeart/2005/8/layout/hList1"/>
    <dgm:cxn modelId="{E085E776-2789-4BD5-8786-927DC8E3F84D}" srcId="{5CABB013-C727-4154-8D37-4F0D43D878B9}" destId="{31FA59E0-FC20-404A-ADDC-AA8009CE9774}" srcOrd="3" destOrd="0" parTransId="{EAD2CDFC-DDB2-48BC-94DC-D06822F89299}" sibTransId="{8AFAA520-302D-49F3-B288-558F421D4A7A}"/>
    <dgm:cxn modelId="{E78B13C4-6749-451D-B158-EA8545CB6490}" srcId="{E0ED3B49-5A11-4D59-AE32-316830E82720}" destId="{5CABB013-C727-4154-8D37-4F0D43D878B9}" srcOrd="0" destOrd="0" parTransId="{64295AD3-2413-4061-A8D8-E59D147D6AE3}" sibTransId="{4294BCD3-B897-4FAE-89BE-84A6ABAD3262}"/>
    <dgm:cxn modelId="{845A9FBB-9AB1-4EEA-9BAA-EFA493E8D780}" srcId="{5CABB013-C727-4154-8D37-4F0D43D878B9}" destId="{F80293C5-9B12-4F73-B1FC-5341342B0FA2}" srcOrd="1" destOrd="0" parTransId="{86557904-AB89-4A2B-9ACB-1ABB69BAB086}" sibTransId="{75E80B86-89AF-4F7B-895E-991E6D78954B}"/>
    <dgm:cxn modelId="{366122DF-9F50-4282-A85F-CBACCB4E77F0}" srcId="{5CABB013-C727-4154-8D37-4F0D43D878B9}" destId="{0C1D7CF0-B1DE-4AFF-9EEC-68AA94BE4894}" srcOrd="2" destOrd="0" parTransId="{9BC87F8D-6A47-4474-99E8-E68DB4ACF69B}" sibTransId="{CB663712-A2F8-4FD2-80C0-D9CE44413293}"/>
    <dgm:cxn modelId="{18323BEF-6A56-4242-A976-1BA8079A813D}" srcId="{5CABB013-C727-4154-8D37-4F0D43D878B9}" destId="{08B2197F-4041-498B-A9A2-D922A43DB1B0}" srcOrd="0" destOrd="0" parTransId="{B0805DE2-505B-42BA-B897-F7A71747B9AF}" sibTransId="{DAE6374E-10D7-4AD2-953F-848ABFC5F6E4}"/>
    <dgm:cxn modelId="{6190E81B-ACE4-4C68-BFD5-EEC44B55DCCD}" type="presOf" srcId="{E0ED3B49-5A11-4D59-AE32-316830E82720}" destId="{E2BD00C0-7E72-4721-9A6B-E7D2AFFD0DC2}" srcOrd="0" destOrd="0" presId="urn:microsoft.com/office/officeart/2005/8/layout/hList1"/>
    <dgm:cxn modelId="{60953839-69EA-4D24-B0BA-DA2B3CB44E8E}" type="presOf" srcId="{0C1D7CF0-B1DE-4AFF-9EEC-68AA94BE4894}" destId="{5E16153D-110E-4957-9859-E9281CCD6FF8}" srcOrd="0" destOrd="2" presId="urn:microsoft.com/office/officeart/2005/8/layout/hList1"/>
    <dgm:cxn modelId="{F383FF51-8891-46A0-A7A0-932EE263B7C9}" type="presParOf" srcId="{E2BD00C0-7E72-4721-9A6B-E7D2AFFD0DC2}" destId="{AE79901A-994D-4900-BA52-E3CCDF157C1A}" srcOrd="0" destOrd="0" presId="urn:microsoft.com/office/officeart/2005/8/layout/hList1"/>
    <dgm:cxn modelId="{7429F98A-2A9A-4F4C-99F7-7293EEFE2973}" type="presParOf" srcId="{AE79901A-994D-4900-BA52-E3CCDF157C1A}" destId="{A49B64DD-D913-4BEC-83CF-83365F2FB831}" srcOrd="0" destOrd="0" presId="urn:microsoft.com/office/officeart/2005/8/layout/hList1"/>
    <dgm:cxn modelId="{77820B58-71EA-455E-B705-7071394A3FF3}" type="presParOf" srcId="{AE79901A-994D-4900-BA52-E3CCDF157C1A}" destId="{5E16153D-110E-4957-9859-E9281CCD6FF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custT="1"/>
      <dgm:spPr/>
      <dgm:t>
        <a:bodyPr/>
        <a:lstStyle/>
        <a:p>
          <a:pPr rtl="0"/>
          <a:r>
            <a:rPr lang="it-IT" sz="4000" b="1" dirty="0" smtClean="0">
              <a:solidFill>
                <a:schemeClr val="accent1">
                  <a:lumMod val="75000"/>
                </a:schemeClr>
              </a:solidFill>
            </a:rPr>
            <a:t>Modalità di lavoro (3)</a:t>
          </a:r>
          <a:endParaRPr lang="it-IT" sz="4000" b="1" dirty="0">
            <a:solidFill>
              <a:schemeClr val="accent1">
                <a:lumMod val="75000"/>
              </a:schemeClr>
            </a:solidFill>
          </a:endParaRPr>
        </a:p>
      </dgm:t>
    </dgm:pt>
    <dgm:pt modelId="{4AA17FDB-A052-4790-AE95-CF73ACE16E71}" type="parTrans" cxnId="{61C24A8C-0B83-4B1F-AD85-E5EDDAA1AC00}">
      <dgm:prSet/>
      <dgm:spPr/>
      <dgm:t>
        <a:bodyPr/>
        <a:lstStyle/>
        <a:p>
          <a:endParaRPr lang="it-IT" sz="4000"/>
        </a:p>
      </dgm:t>
    </dgm:pt>
    <dgm:pt modelId="{C167467F-04BA-4DE5-90F4-5BF53279866E}" type="sibTrans" cxnId="{61C24A8C-0B83-4B1F-AD85-E5EDDAA1AC00}">
      <dgm:prSet/>
      <dgm:spPr/>
      <dgm:t>
        <a:bodyPr/>
        <a:lstStyle/>
        <a:p>
          <a:endParaRPr lang="it-IT" sz="4000"/>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A4CF264B-7035-48B7-B7C3-2ABCCB043EB2}" type="presOf" srcId="{2BF37BE0-F1C9-4327-8D6B-194C8F2CF94F}" destId="{7D920113-6D83-4974-923F-4CAA40CA2FDB}" srcOrd="0" destOrd="0" presId="urn:microsoft.com/office/officeart/2008/layout/LinedList"/>
    <dgm:cxn modelId="{80EFD9DC-808D-44E2-A8E7-E84843F712F3}" type="presOf" srcId="{37F295A9-2A2E-416D-9AE6-C3404377959E}" destId="{58FB0A67-F67A-40BA-890E-A840ED83B605}"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2B461402-EF6C-472F-87CA-61CE8791CBEC}" type="presParOf" srcId="{58FB0A67-F67A-40BA-890E-A840ED83B605}" destId="{AB26EC88-0333-42E8-B340-C2B4FE18384A}" srcOrd="0" destOrd="0" presId="urn:microsoft.com/office/officeart/2008/layout/LinedList"/>
    <dgm:cxn modelId="{393B0F32-D6DF-4EB0-ABF4-F83717C6EAFF}" type="presParOf" srcId="{58FB0A67-F67A-40BA-890E-A840ED83B605}" destId="{45792684-4DE0-4EDD-B49A-A40AB3BD4B9E}" srcOrd="1" destOrd="0" presId="urn:microsoft.com/office/officeart/2008/layout/LinedList"/>
    <dgm:cxn modelId="{63060A60-D385-4EB7-816B-8A5AAB635C2C}" type="presParOf" srcId="{45792684-4DE0-4EDD-B49A-A40AB3BD4B9E}" destId="{7D920113-6D83-4974-923F-4CAA40CA2FDB}" srcOrd="0" destOrd="0" presId="urn:microsoft.com/office/officeart/2008/layout/LinedList"/>
    <dgm:cxn modelId="{92F17E96-CFDA-44E0-8150-5C69E9C95C43}"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BE3B8733-AE13-4A7B-A32B-B74DE4C528D7}" type="doc">
      <dgm:prSet loTypeId="urn:microsoft.com/office/officeart/2005/8/layout/vList5" loCatId="list" qsTypeId="urn:microsoft.com/office/officeart/2005/8/quickstyle/3d1" qsCatId="3D" csTypeId="urn:microsoft.com/office/officeart/2005/8/colors/accent2_5" csCatId="accent2" phldr="1"/>
      <dgm:spPr/>
      <dgm:t>
        <a:bodyPr/>
        <a:lstStyle/>
        <a:p>
          <a:endParaRPr lang="it-IT"/>
        </a:p>
      </dgm:t>
    </dgm:pt>
    <dgm:pt modelId="{F23A2E33-A7A9-4C0C-9E2D-FE9B09B27B0C}">
      <dgm:prSet phldrT="[Testo]" custT="1"/>
      <dgm:spPr/>
      <dgm:t>
        <a:bodyPr/>
        <a:lstStyle/>
        <a:p>
          <a:r>
            <a:rPr lang="it-IT" sz="4400" b="1" dirty="0" smtClean="0"/>
            <a:t>Le regole del confronto</a:t>
          </a:r>
          <a:endParaRPr lang="it-IT" sz="4400" b="1" dirty="0"/>
        </a:p>
      </dgm:t>
    </dgm:pt>
    <dgm:pt modelId="{4B3C5EFE-833D-4256-8D22-790DD4FEA846}" type="parTrans" cxnId="{AA13AB5C-83C5-45C1-864A-5D3145E95840}">
      <dgm:prSet/>
      <dgm:spPr/>
      <dgm:t>
        <a:bodyPr/>
        <a:lstStyle/>
        <a:p>
          <a:endParaRPr lang="it-IT"/>
        </a:p>
      </dgm:t>
    </dgm:pt>
    <dgm:pt modelId="{CE2E410B-761E-4681-BB83-5F0176147C43}" type="sibTrans" cxnId="{AA13AB5C-83C5-45C1-864A-5D3145E95840}">
      <dgm:prSet/>
      <dgm:spPr/>
      <dgm:t>
        <a:bodyPr/>
        <a:lstStyle/>
        <a:p>
          <a:endParaRPr lang="it-IT"/>
        </a:p>
      </dgm:t>
    </dgm:pt>
    <dgm:pt modelId="{FA935D20-D649-4F38-A41B-69E90530D632}">
      <dgm:prSet phldrT="[Testo]" custT="1"/>
      <dgm:spPr/>
      <dgm:t>
        <a:bodyPr/>
        <a:lstStyle/>
        <a:p>
          <a:r>
            <a:rPr lang="it-IT" sz="3600" b="0" dirty="0" smtClean="0">
              <a:solidFill>
                <a:schemeClr val="accent1"/>
              </a:solidFill>
            </a:rPr>
            <a:t>Attenzione ai tempi</a:t>
          </a:r>
          <a:endParaRPr lang="it-IT" sz="3600" b="0" dirty="0">
            <a:solidFill>
              <a:schemeClr val="accent1"/>
            </a:solidFill>
          </a:endParaRPr>
        </a:p>
      </dgm:t>
    </dgm:pt>
    <dgm:pt modelId="{BFFBD901-FEFF-45F6-A478-CF6D74317EA2}" type="parTrans" cxnId="{E76A9A63-FF32-4781-921F-6A2A67CD1E02}">
      <dgm:prSet/>
      <dgm:spPr/>
      <dgm:t>
        <a:bodyPr/>
        <a:lstStyle/>
        <a:p>
          <a:endParaRPr lang="it-IT"/>
        </a:p>
      </dgm:t>
    </dgm:pt>
    <dgm:pt modelId="{75DA65DA-F2A3-4A8F-8248-871D3727B6B8}" type="sibTrans" cxnId="{E76A9A63-FF32-4781-921F-6A2A67CD1E02}">
      <dgm:prSet/>
      <dgm:spPr/>
      <dgm:t>
        <a:bodyPr/>
        <a:lstStyle/>
        <a:p>
          <a:endParaRPr lang="it-IT"/>
        </a:p>
      </dgm:t>
    </dgm:pt>
    <dgm:pt modelId="{D446E03B-A085-4EAF-A9D7-21D9E631073A}">
      <dgm:prSet phldrT="[Testo]" custT="1"/>
      <dgm:spPr/>
      <dgm:t>
        <a:bodyPr/>
        <a:lstStyle/>
        <a:p>
          <a:r>
            <a:rPr lang="it-IT" sz="3600" b="0" dirty="0" smtClean="0">
              <a:solidFill>
                <a:schemeClr val="accent1"/>
              </a:solidFill>
            </a:rPr>
            <a:t>Comprendere come lavorare più che discutere del merito</a:t>
          </a:r>
          <a:endParaRPr lang="it-IT" sz="3600" b="0" dirty="0">
            <a:solidFill>
              <a:schemeClr val="accent1"/>
            </a:solidFill>
          </a:endParaRPr>
        </a:p>
      </dgm:t>
    </dgm:pt>
    <dgm:pt modelId="{44FDFF5D-A5FE-4F6B-89B8-1FCC632B967C}" type="parTrans" cxnId="{BB9A4BB3-9E3F-4768-AB03-3A5823740DAC}">
      <dgm:prSet/>
      <dgm:spPr/>
      <dgm:t>
        <a:bodyPr/>
        <a:lstStyle/>
        <a:p>
          <a:endParaRPr lang="it-IT"/>
        </a:p>
      </dgm:t>
    </dgm:pt>
    <dgm:pt modelId="{A44EEB28-BFA3-4413-89F9-8106007D5EF7}" type="sibTrans" cxnId="{BB9A4BB3-9E3F-4768-AB03-3A5823740DAC}">
      <dgm:prSet/>
      <dgm:spPr/>
      <dgm:t>
        <a:bodyPr/>
        <a:lstStyle/>
        <a:p>
          <a:endParaRPr lang="it-IT"/>
        </a:p>
      </dgm:t>
    </dgm:pt>
    <dgm:pt modelId="{E8668022-B4E6-4F7B-85CE-7DF06B5D0EF9}">
      <dgm:prSet phldrT="[Testo]" custT="1"/>
      <dgm:spPr/>
      <dgm:t>
        <a:bodyPr/>
        <a:lstStyle/>
        <a:p>
          <a:r>
            <a:rPr lang="it-IT" sz="3600" b="0" dirty="0" smtClean="0">
              <a:solidFill>
                <a:schemeClr val="accent1"/>
              </a:solidFill>
            </a:rPr>
            <a:t>Non sovrapporsi</a:t>
          </a:r>
          <a:endParaRPr lang="it-IT" sz="3600" b="0" dirty="0">
            <a:solidFill>
              <a:schemeClr val="accent1"/>
            </a:solidFill>
          </a:endParaRPr>
        </a:p>
      </dgm:t>
    </dgm:pt>
    <dgm:pt modelId="{A639F380-D1ED-4F16-8273-CE710AF2722F}" type="parTrans" cxnId="{4F66322D-4FDF-40A2-A1A4-85106B7D7A69}">
      <dgm:prSet/>
      <dgm:spPr/>
      <dgm:t>
        <a:bodyPr/>
        <a:lstStyle/>
        <a:p>
          <a:endParaRPr lang="it-IT"/>
        </a:p>
      </dgm:t>
    </dgm:pt>
    <dgm:pt modelId="{40FDD981-82C7-442B-82DA-BB0875708F5C}" type="sibTrans" cxnId="{4F66322D-4FDF-40A2-A1A4-85106B7D7A69}">
      <dgm:prSet/>
      <dgm:spPr/>
      <dgm:t>
        <a:bodyPr/>
        <a:lstStyle/>
        <a:p>
          <a:endParaRPr lang="it-IT"/>
        </a:p>
      </dgm:t>
    </dgm:pt>
    <dgm:pt modelId="{67755247-ABB2-430C-86D0-520F5484A172}">
      <dgm:prSet phldrT="[Testo]" custT="1"/>
      <dgm:spPr/>
      <dgm:t>
        <a:bodyPr/>
        <a:lstStyle/>
        <a:p>
          <a:r>
            <a:rPr lang="it-IT" sz="3600" b="0" dirty="0" smtClean="0">
              <a:solidFill>
                <a:schemeClr val="accent1"/>
              </a:solidFill>
            </a:rPr>
            <a:t>Non ripetersi</a:t>
          </a:r>
          <a:endParaRPr lang="it-IT" sz="3600" b="0" dirty="0">
            <a:solidFill>
              <a:schemeClr val="accent1"/>
            </a:solidFill>
          </a:endParaRPr>
        </a:p>
      </dgm:t>
    </dgm:pt>
    <dgm:pt modelId="{F0DE52B4-7B54-424F-BF46-2F68B78BEC45}" type="parTrans" cxnId="{7CBA6189-3D05-4562-9426-327B4B6D8B85}">
      <dgm:prSet/>
      <dgm:spPr/>
      <dgm:t>
        <a:bodyPr/>
        <a:lstStyle/>
        <a:p>
          <a:endParaRPr lang="it-IT"/>
        </a:p>
      </dgm:t>
    </dgm:pt>
    <dgm:pt modelId="{9A459189-03A5-4FD4-8CCB-3CBA045D52A5}" type="sibTrans" cxnId="{7CBA6189-3D05-4562-9426-327B4B6D8B85}">
      <dgm:prSet/>
      <dgm:spPr/>
      <dgm:t>
        <a:bodyPr/>
        <a:lstStyle/>
        <a:p>
          <a:endParaRPr lang="it-IT"/>
        </a:p>
      </dgm:t>
    </dgm:pt>
    <dgm:pt modelId="{2DAC4A08-F0EC-4141-95E1-0391DF513F7A}">
      <dgm:prSet phldrT="[Testo]" custT="1"/>
      <dgm:spPr/>
      <dgm:t>
        <a:bodyPr/>
        <a:lstStyle/>
        <a:p>
          <a:r>
            <a:rPr lang="it-IT" sz="3600" b="0" dirty="0" smtClean="0">
              <a:solidFill>
                <a:schemeClr val="accent1"/>
              </a:solidFill>
            </a:rPr>
            <a:t>Stare sul tema</a:t>
          </a:r>
          <a:endParaRPr lang="it-IT" sz="3600" b="0" dirty="0">
            <a:solidFill>
              <a:schemeClr val="accent1"/>
            </a:solidFill>
          </a:endParaRPr>
        </a:p>
      </dgm:t>
    </dgm:pt>
    <dgm:pt modelId="{A9695659-22B7-482D-BD64-EA1338119F99}" type="parTrans" cxnId="{D8D973D0-8A60-46F1-9010-AECD87605A11}">
      <dgm:prSet/>
      <dgm:spPr/>
      <dgm:t>
        <a:bodyPr/>
        <a:lstStyle/>
        <a:p>
          <a:endParaRPr lang="it-IT"/>
        </a:p>
      </dgm:t>
    </dgm:pt>
    <dgm:pt modelId="{15D2AB5A-6349-4135-A7E2-60885CE2D866}" type="sibTrans" cxnId="{D8D973D0-8A60-46F1-9010-AECD87605A11}">
      <dgm:prSet/>
      <dgm:spPr/>
      <dgm:t>
        <a:bodyPr/>
        <a:lstStyle/>
        <a:p>
          <a:endParaRPr lang="it-IT"/>
        </a:p>
      </dgm:t>
    </dgm:pt>
    <dgm:pt modelId="{074A061E-7550-4B1C-A8F0-C013B8C23025}">
      <dgm:prSet phldrT="[Testo]" custT="1"/>
      <dgm:spPr/>
      <dgm:t>
        <a:bodyPr/>
        <a:lstStyle/>
        <a:p>
          <a:r>
            <a:rPr lang="it-IT" sz="3600" b="0" dirty="0" smtClean="0">
              <a:solidFill>
                <a:schemeClr val="accent1"/>
              </a:solidFill>
            </a:rPr>
            <a:t>Interventi operativi (escluse premesse)</a:t>
          </a:r>
          <a:endParaRPr lang="it-IT" sz="3600" b="0" dirty="0">
            <a:solidFill>
              <a:schemeClr val="accent1"/>
            </a:solidFill>
          </a:endParaRPr>
        </a:p>
      </dgm:t>
    </dgm:pt>
    <dgm:pt modelId="{FE88A37D-095A-4F77-B5B2-0272391C24A5}" type="parTrans" cxnId="{90B43B46-40BE-4C6A-8D18-E33CA9BF4820}">
      <dgm:prSet/>
      <dgm:spPr/>
      <dgm:t>
        <a:bodyPr/>
        <a:lstStyle/>
        <a:p>
          <a:endParaRPr lang="it-IT"/>
        </a:p>
      </dgm:t>
    </dgm:pt>
    <dgm:pt modelId="{498B8DC2-9EC5-47E6-BCD5-C4052AF11EC1}" type="sibTrans" cxnId="{90B43B46-40BE-4C6A-8D18-E33CA9BF4820}">
      <dgm:prSet/>
      <dgm:spPr/>
      <dgm:t>
        <a:bodyPr/>
        <a:lstStyle/>
        <a:p>
          <a:endParaRPr lang="it-IT"/>
        </a:p>
      </dgm:t>
    </dgm:pt>
    <dgm:pt modelId="{67CAF0F0-11C7-41D4-B458-17DD1ACC65D7}" type="pres">
      <dgm:prSet presAssocID="{BE3B8733-AE13-4A7B-A32B-B74DE4C528D7}" presName="Name0" presStyleCnt="0">
        <dgm:presLayoutVars>
          <dgm:dir/>
          <dgm:animLvl val="lvl"/>
          <dgm:resizeHandles val="exact"/>
        </dgm:presLayoutVars>
      </dgm:prSet>
      <dgm:spPr/>
      <dgm:t>
        <a:bodyPr/>
        <a:lstStyle/>
        <a:p>
          <a:endParaRPr lang="it-IT"/>
        </a:p>
      </dgm:t>
    </dgm:pt>
    <dgm:pt modelId="{91EF4C2B-0965-4D66-A48D-ECB7ACAE5C2D}" type="pres">
      <dgm:prSet presAssocID="{F23A2E33-A7A9-4C0C-9E2D-FE9B09B27B0C}" presName="linNode" presStyleCnt="0"/>
      <dgm:spPr/>
      <dgm:t>
        <a:bodyPr/>
        <a:lstStyle/>
        <a:p>
          <a:endParaRPr lang="it-IT"/>
        </a:p>
      </dgm:t>
    </dgm:pt>
    <dgm:pt modelId="{4B75031E-EAE2-44AE-A204-79AAE3CD8BF2}" type="pres">
      <dgm:prSet presAssocID="{F23A2E33-A7A9-4C0C-9E2D-FE9B09B27B0C}" presName="parentText" presStyleLbl="node1" presStyleIdx="0" presStyleCnt="1" custLinFactNeighborY="-1519">
        <dgm:presLayoutVars>
          <dgm:chMax val="1"/>
          <dgm:bulletEnabled val="1"/>
        </dgm:presLayoutVars>
      </dgm:prSet>
      <dgm:spPr/>
      <dgm:t>
        <a:bodyPr/>
        <a:lstStyle/>
        <a:p>
          <a:endParaRPr lang="it-IT"/>
        </a:p>
      </dgm:t>
    </dgm:pt>
    <dgm:pt modelId="{19C3370D-7B6A-4F3C-8C78-C38DF1D2FA31}" type="pres">
      <dgm:prSet presAssocID="{F23A2E33-A7A9-4C0C-9E2D-FE9B09B27B0C}" presName="descendantText" presStyleLbl="alignAccFollowNode1" presStyleIdx="0" presStyleCnt="1" custScaleY="125122" custLinFactNeighborY="-5141">
        <dgm:presLayoutVars>
          <dgm:bulletEnabled val="1"/>
        </dgm:presLayoutVars>
      </dgm:prSet>
      <dgm:spPr/>
      <dgm:t>
        <a:bodyPr/>
        <a:lstStyle/>
        <a:p>
          <a:endParaRPr lang="it-IT"/>
        </a:p>
      </dgm:t>
    </dgm:pt>
  </dgm:ptLst>
  <dgm:cxnLst>
    <dgm:cxn modelId="{4B02C274-7EAF-4E70-B961-1AD9B6DB2F03}" type="presOf" srcId="{E8668022-B4E6-4F7B-85CE-7DF06B5D0EF9}" destId="{19C3370D-7B6A-4F3C-8C78-C38DF1D2FA31}" srcOrd="0" destOrd="4" presId="urn:microsoft.com/office/officeart/2005/8/layout/vList5"/>
    <dgm:cxn modelId="{854E1344-7C29-4A5F-B301-24C01DA9D91A}" type="presOf" srcId="{D446E03B-A085-4EAF-A9D7-21D9E631073A}" destId="{19C3370D-7B6A-4F3C-8C78-C38DF1D2FA31}" srcOrd="0" destOrd="1" presId="urn:microsoft.com/office/officeart/2005/8/layout/vList5"/>
    <dgm:cxn modelId="{19AAEDD2-020D-42FF-B054-2607BB169B6F}" type="presOf" srcId="{67755247-ABB2-430C-86D0-520F5484A172}" destId="{19C3370D-7B6A-4F3C-8C78-C38DF1D2FA31}" srcOrd="0" destOrd="5" presId="urn:microsoft.com/office/officeart/2005/8/layout/vList5"/>
    <dgm:cxn modelId="{F36AA1E8-9E87-49AD-8ED9-59A5E7A98FF8}" type="presOf" srcId="{BE3B8733-AE13-4A7B-A32B-B74DE4C528D7}" destId="{67CAF0F0-11C7-41D4-B458-17DD1ACC65D7}" srcOrd="0" destOrd="0" presId="urn:microsoft.com/office/officeart/2005/8/layout/vList5"/>
    <dgm:cxn modelId="{4864C048-44C3-4449-996B-6BEC43D1DFFE}" type="presOf" srcId="{2DAC4A08-F0EC-4141-95E1-0391DF513F7A}" destId="{19C3370D-7B6A-4F3C-8C78-C38DF1D2FA31}" srcOrd="0" destOrd="2" presId="urn:microsoft.com/office/officeart/2005/8/layout/vList5"/>
    <dgm:cxn modelId="{AA13AB5C-83C5-45C1-864A-5D3145E95840}" srcId="{BE3B8733-AE13-4A7B-A32B-B74DE4C528D7}" destId="{F23A2E33-A7A9-4C0C-9E2D-FE9B09B27B0C}" srcOrd="0" destOrd="0" parTransId="{4B3C5EFE-833D-4256-8D22-790DD4FEA846}" sibTransId="{CE2E410B-761E-4681-BB83-5F0176147C43}"/>
    <dgm:cxn modelId="{4F66322D-4FDF-40A2-A1A4-85106B7D7A69}" srcId="{F23A2E33-A7A9-4C0C-9E2D-FE9B09B27B0C}" destId="{E8668022-B4E6-4F7B-85CE-7DF06B5D0EF9}" srcOrd="4" destOrd="0" parTransId="{A639F380-D1ED-4F16-8273-CE710AF2722F}" sibTransId="{40FDD981-82C7-442B-82DA-BB0875708F5C}"/>
    <dgm:cxn modelId="{EDBD41D0-6AC7-4D7E-AE3C-9F0580ADBBDB}" type="presOf" srcId="{FA935D20-D649-4F38-A41B-69E90530D632}" destId="{19C3370D-7B6A-4F3C-8C78-C38DF1D2FA31}" srcOrd="0" destOrd="0" presId="urn:microsoft.com/office/officeart/2005/8/layout/vList5"/>
    <dgm:cxn modelId="{D8D973D0-8A60-46F1-9010-AECD87605A11}" srcId="{F23A2E33-A7A9-4C0C-9E2D-FE9B09B27B0C}" destId="{2DAC4A08-F0EC-4141-95E1-0391DF513F7A}" srcOrd="2" destOrd="0" parTransId="{A9695659-22B7-482D-BD64-EA1338119F99}" sibTransId="{15D2AB5A-6349-4135-A7E2-60885CE2D866}"/>
    <dgm:cxn modelId="{E76A9A63-FF32-4781-921F-6A2A67CD1E02}" srcId="{F23A2E33-A7A9-4C0C-9E2D-FE9B09B27B0C}" destId="{FA935D20-D649-4F38-A41B-69E90530D632}" srcOrd="0" destOrd="0" parTransId="{BFFBD901-FEFF-45F6-A478-CF6D74317EA2}" sibTransId="{75DA65DA-F2A3-4A8F-8248-871D3727B6B8}"/>
    <dgm:cxn modelId="{E3A9445B-438A-42E7-93C9-EC95ED810ABA}" type="presOf" srcId="{F23A2E33-A7A9-4C0C-9E2D-FE9B09B27B0C}" destId="{4B75031E-EAE2-44AE-A204-79AAE3CD8BF2}" srcOrd="0" destOrd="0" presId="urn:microsoft.com/office/officeart/2005/8/layout/vList5"/>
    <dgm:cxn modelId="{90B43B46-40BE-4C6A-8D18-E33CA9BF4820}" srcId="{F23A2E33-A7A9-4C0C-9E2D-FE9B09B27B0C}" destId="{074A061E-7550-4B1C-A8F0-C013B8C23025}" srcOrd="3" destOrd="0" parTransId="{FE88A37D-095A-4F77-B5B2-0272391C24A5}" sibTransId="{498B8DC2-9EC5-47E6-BCD5-C4052AF11EC1}"/>
    <dgm:cxn modelId="{48039A21-FFD5-41CC-8AF5-CACF83F6A50F}" type="presOf" srcId="{074A061E-7550-4B1C-A8F0-C013B8C23025}" destId="{19C3370D-7B6A-4F3C-8C78-C38DF1D2FA31}" srcOrd="0" destOrd="3" presId="urn:microsoft.com/office/officeart/2005/8/layout/vList5"/>
    <dgm:cxn modelId="{7CBA6189-3D05-4562-9426-327B4B6D8B85}" srcId="{F23A2E33-A7A9-4C0C-9E2D-FE9B09B27B0C}" destId="{67755247-ABB2-430C-86D0-520F5484A172}" srcOrd="5" destOrd="0" parTransId="{F0DE52B4-7B54-424F-BF46-2F68B78BEC45}" sibTransId="{9A459189-03A5-4FD4-8CCB-3CBA045D52A5}"/>
    <dgm:cxn modelId="{BB9A4BB3-9E3F-4768-AB03-3A5823740DAC}" srcId="{F23A2E33-A7A9-4C0C-9E2D-FE9B09B27B0C}" destId="{D446E03B-A085-4EAF-A9D7-21D9E631073A}" srcOrd="1" destOrd="0" parTransId="{44FDFF5D-A5FE-4F6B-89B8-1FCC632B967C}" sibTransId="{A44EEB28-BFA3-4413-89F9-8106007D5EF7}"/>
    <dgm:cxn modelId="{73409514-6F6E-47DC-87AD-75FF6E5EA385}" type="presParOf" srcId="{67CAF0F0-11C7-41D4-B458-17DD1ACC65D7}" destId="{91EF4C2B-0965-4D66-A48D-ECB7ACAE5C2D}" srcOrd="0" destOrd="0" presId="urn:microsoft.com/office/officeart/2005/8/layout/vList5"/>
    <dgm:cxn modelId="{C1BB1C4F-0D02-4A4B-A62A-58E70BB5A423}" type="presParOf" srcId="{91EF4C2B-0965-4D66-A48D-ECB7ACAE5C2D}" destId="{4B75031E-EAE2-44AE-A204-79AAE3CD8BF2}" srcOrd="0" destOrd="0" presId="urn:microsoft.com/office/officeart/2005/8/layout/vList5"/>
    <dgm:cxn modelId="{8142224F-070F-4CAB-9ECA-CE28EB103951}" type="presParOf" srcId="{91EF4C2B-0965-4D66-A48D-ECB7ACAE5C2D}" destId="{19C3370D-7B6A-4F3C-8C78-C38DF1D2FA31}"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custT="1"/>
      <dgm:spPr/>
      <dgm:t>
        <a:bodyPr/>
        <a:lstStyle/>
        <a:p>
          <a:pPr rtl="0"/>
          <a:r>
            <a:rPr lang="it-IT" sz="4000" b="1" dirty="0" smtClean="0">
              <a:solidFill>
                <a:schemeClr val="accent1">
                  <a:lumMod val="75000"/>
                </a:schemeClr>
              </a:solidFill>
            </a:rPr>
            <a:t>Modalità di lavoro (4)</a:t>
          </a:r>
          <a:endParaRPr lang="it-IT" sz="4000" b="1" dirty="0">
            <a:solidFill>
              <a:schemeClr val="accent1">
                <a:lumMod val="75000"/>
              </a:schemeClr>
            </a:solidFill>
          </a:endParaRPr>
        </a:p>
      </dgm:t>
    </dgm:pt>
    <dgm:pt modelId="{4AA17FDB-A052-4790-AE95-CF73ACE16E71}" type="parTrans" cxnId="{61C24A8C-0B83-4B1F-AD85-E5EDDAA1AC00}">
      <dgm:prSet/>
      <dgm:spPr/>
      <dgm:t>
        <a:bodyPr/>
        <a:lstStyle/>
        <a:p>
          <a:endParaRPr lang="it-IT" sz="4000"/>
        </a:p>
      </dgm:t>
    </dgm:pt>
    <dgm:pt modelId="{C167467F-04BA-4DE5-90F4-5BF53279866E}" type="sibTrans" cxnId="{61C24A8C-0B83-4B1F-AD85-E5EDDAA1AC00}">
      <dgm:prSet/>
      <dgm:spPr/>
      <dgm:t>
        <a:bodyPr/>
        <a:lstStyle/>
        <a:p>
          <a:endParaRPr lang="it-IT" sz="4000"/>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18BFA2ED-418E-41C9-99C5-C597D5EBF103}" type="presOf" srcId="{37F295A9-2A2E-416D-9AE6-C3404377959E}" destId="{58FB0A67-F67A-40BA-890E-A840ED83B605}"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4470811F-60FA-4AC8-9C6C-57A337E7C095}" type="presOf" srcId="{2BF37BE0-F1C9-4327-8D6B-194C8F2CF94F}" destId="{7D920113-6D83-4974-923F-4CAA40CA2FDB}" srcOrd="0" destOrd="0" presId="urn:microsoft.com/office/officeart/2008/layout/LinedList"/>
    <dgm:cxn modelId="{945ECB93-D60B-45DE-B36D-6BF78B54A913}" type="presParOf" srcId="{58FB0A67-F67A-40BA-890E-A840ED83B605}" destId="{AB26EC88-0333-42E8-B340-C2B4FE18384A}" srcOrd="0" destOrd="0" presId="urn:microsoft.com/office/officeart/2008/layout/LinedList"/>
    <dgm:cxn modelId="{98CE227A-31F5-4199-A6B9-85465D9D4846}" type="presParOf" srcId="{58FB0A67-F67A-40BA-890E-A840ED83B605}" destId="{45792684-4DE0-4EDD-B49A-A40AB3BD4B9E}" srcOrd="1" destOrd="0" presId="urn:microsoft.com/office/officeart/2008/layout/LinedList"/>
    <dgm:cxn modelId="{62C69224-C3B9-4517-A51F-D9BB90A2C9AE}" type="presParOf" srcId="{45792684-4DE0-4EDD-B49A-A40AB3BD4B9E}" destId="{7D920113-6D83-4974-923F-4CAA40CA2FDB}" srcOrd="0" destOrd="0" presId="urn:microsoft.com/office/officeart/2008/layout/LinedList"/>
    <dgm:cxn modelId="{0A89BA82-24E4-412F-B5FD-92F0C1684DC3}"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BE3B8733-AE13-4A7B-A32B-B74DE4C528D7}" type="doc">
      <dgm:prSet loTypeId="urn:microsoft.com/office/officeart/2005/8/layout/vList5" loCatId="list" qsTypeId="urn:microsoft.com/office/officeart/2005/8/quickstyle/3d1" qsCatId="3D" csTypeId="urn:microsoft.com/office/officeart/2005/8/colors/accent2_5" csCatId="accent2" phldr="1"/>
      <dgm:spPr/>
      <dgm:t>
        <a:bodyPr/>
        <a:lstStyle/>
        <a:p>
          <a:endParaRPr lang="it-IT"/>
        </a:p>
      </dgm:t>
    </dgm:pt>
    <dgm:pt modelId="{F23A2E33-A7A9-4C0C-9E2D-FE9B09B27B0C}">
      <dgm:prSet phldrT="[Testo]" custT="1"/>
      <dgm:spPr/>
      <dgm:t>
        <a:bodyPr/>
        <a:lstStyle/>
        <a:p>
          <a:r>
            <a:rPr lang="it-IT" sz="4400" b="1" dirty="0" smtClean="0"/>
            <a:t>Il </a:t>
          </a:r>
          <a:r>
            <a:rPr lang="it-IT" sz="4400" b="1" dirty="0" err="1" smtClean="0"/>
            <a:t>contributorichiesto</a:t>
          </a:r>
          <a:r>
            <a:rPr lang="it-IT" sz="4400" b="1" dirty="0" smtClean="0"/>
            <a:t> deve essere....</a:t>
          </a:r>
          <a:endParaRPr lang="it-IT" sz="4400" b="1" dirty="0"/>
        </a:p>
      </dgm:t>
    </dgm:pt>
    <dgm:pt modelId="{4B3C5EFE-833D-4256-8D22-790DD4FEA846}" type="parTrans" cxnId="{AA13AB5C-83C5-45C1-864A-5D3145E95840}">
      <dgm:prSet/>
      <dgm:spPr/>
      <dgm:t>
        <a:bodyPr/>
        <a:lstStyle/>
        <a:p>
          <a:endParaRPr lang="it-IT"/>
        </a:p>
      </dgm:t>
    </dgm:pt>
    <dgm:pt modelId="{CE2E410B-761E-4681-BB83-5F0176147C43}" type="sibTrans" cxnId="{AA13AB5C-83C5-45C1-864A-5D3145E95840}">
      <dgm:prSet/>
      <dgm:spPr/>
      <dgm:t>
        <a:bodyPr/>
        <a:lstStyle/>
        <a:p>
          <a:endParaRPr lang="it-IT"/>
        </a:p>
      </dgm:t>
    </dgm:pt>
    <dgm:pt modelId="{FA935D20-D649-4F38-A41B-69E90530D632}">
      <dgm:prSet phldrT="[Testo]" custT="1"/>
      <dgm:spPr/>
      <dgm:t>
        <a:bodyPr/>
        <a:lstStyle/>
        <a:p>
          <a:r>
            <a:rPr lang="it-IT" sz="3600" b="0" dirty="0" smtClean="0">
              <a:solidFill>
                <a:schemeClr val="accent1"/>
              </a:solidFill>
            </a:rPr>
            <a:t>centrato sulle indicazione dei potenziali ambiti di specializzazione rispetto al tavolo tematico</a:t>
          </a:r>
          <a:endParaRPr lang="it-IT" sz="3600" b="0" dirty="0">
            <a:solidFill>
              <a:schemeClr val="accent1"/>
            </a:solidFill>
          </a:endParaRPr>
        </a:p>
      </dgm:t>
    </dgm:pt>
    <dgm:pt modelId="{BFFBD901-FEFF-45F6-A478-CF6D74317EA2}" type="parTrans" cxnId="{E76A9A63-FF32-4781-921F-6A2A67CD1E02}">
      <dgm:prSet/>
      <dgm:spPr/>
      <dgm:t>
        <a:bodyPr/>
        <a:lstStyle/>
        <a:p>
          <a:endParaRPr lang="it-IT"/>
        </a:p>
      </dgm:t>
    </dgm:pt>
    <dgm:pt modelId="{75DA65DA-F2A3-4A8F-8248-871D3727B6B8}" type="sibTrans" cxnId="{E76A9A63-FF32-4781-921F-6A2A67CD1E02}">
      <dgm:prSet/>
      <dgm:spPr/>
      <dgm:t>
        <a:bodyPr/>
        <a:lstStyle/>
        <a:p>
          <a:endParaRPr lang="it-IT"/>
        </a:p>
      </dgm:t>
    </dgm:pt>
    <dgm:pt modelId="{072475CA-39E6-44D8-A471-577AF76DB987}">
      <dgm:prSet phldrT="[Testo]" custT="1"/>
      <dgm:spPr/>
      <dgm:t>
        <a:bodyPr/>
        <a:lstStyle/>
        <a:p>
          <a:r>
            <a:rPr lang="it-IT" sz="3600" b="0" dirty="0" smtClean="0">
              <a:solidFill>
                <a:schemeClr val="accent1"/>
              </a:solidFill>
            </a:rPr>
            <a:t>giustificato dalle evidenze, dalle scoperte imprenditoriali e dalle conoscenze possedute dagli attori </a:t>
          </a:r>
          <a:endParaRPr lang="it-IT" sz="3600" b="0" dirty="0">
            <a:solidFill>
              <a:schemeClr val="accent1"/>
            </a:solidFill>
          </a:endParaRPr>
        </a:p>
      </dgm:t>
    </dgm:pt>
    <dgm:pt modelId="{070F04A9-CFCA-417D-BF32-5D77678E5752}" type="parTrans" cxnId="{C6211E88-C192-41A1-AF7A-9C938B964870}">
      <dgm:prSet/>
      <dgm:spPr/>
      <dgm:t>
        <a:bodyPr/>
        <a:lstStyle/>
        <a:p>
          <a:endParaRPr lang="it-IT"/>
        </a:p>
      </dgm:t>
    </dgm:pt>
    <dgm:pt modelId="{1791BB8A-C1A4-4EF3-A97F-FD08B5B2C1B9}" type="sibTrans" cxnId="{C6211E88-C192-41A1-AF7A-9C938B964870}">
      <dgm:prSet/>
      <dgm:spPr/>
      <dgm:t>
        <a:bodyPr/>
        <a:lstStyle/>
        <a:p>
          <a:endParaRPr lang="it-IT"/>
        </a:p>
      </dgm:t>
    </dgm:pt>
    <dgm:pt modelId="{67CAF0F0-11C7-41D4-B458-17DD1ACC65D7}" type="pres">
      <dgm:prSet presAssocID="{BE3B8733-AE13-4A7B-A32B-B74DE4C528D7}" presName="Name0" presStyleCnt="0">
        <dgm:presLayoutVars>
          <dgm:dir/>
          <dgm:animLvl val="lvl"/>
          <dgm:resizeHandles val="exact"/>
        </dgm:presLayoutVars>
      </dgm:prSet>
      <dgm:spPr/>
      <dgm:t>
        <a:bodyPr/>
        <a:lstStyle/>
        <a:p>
          <a:endParaRPr lang="it-IT"/>
        </a:p>
      </dgm:t>
    </dgm:pt>
    <dgm:pt modelId="{91EF4C2B-0965-4D66-A48D-ECB7ACAE5C2D}" type="pres">
      <dgm:prSet presAssocID="{F23A2E33-A7A9-4C0C-9E2D-FE9B09B27B0C}" presName="linNode" presStyleCnt="0"/>
      <dgm:spPr/>
      <dgm:t>
        <a:bodyPr/>
        <a:lstStyle/>
        <a:p>
          <a:endParaRPr lang="it-IT"/>
        </a:p>
      </dgm:t>
    </dgm:pt>
    <dgm:pt modelId="{4B75031E-EAE2-44AE-A204-79AAE3CD8BF2}" type="pres">
      <dgm:prSet presAssocID="{F23A2E33-A7A9-4C0C-9E2D-FE9B09B27B0C}" presName="parentText" presStyleLbl="node1" presStyleIdx="0" presStyleCnt="1" custLinFactNeighborY="-1519">
        <dgm:presLayoutVars>
          <dgm:chMax val="1"/>
          <dgm:bulletEnabled val="1"/>
        </dgm:presLayoutVars>
      </dgm:prSet>
      <dgm:spPr/>
      <dgm:t>
        <a:bodyPr/>
        <a:lstStyle/>
        <a:p>
          <a:endParaRPr lang="it-IT"/>
        </a:p>
      </dgm:t>
    </dgm:pt>
    <dgm:pt modelId="{19C3370D-7B6A-4F3C-8C78-C38DF1D2FA31}" type="pres">
      <dgm:prSet presAssocID="{F23A2E33-A7A9-4C0C-9E2D-FE9B09B27B0C}" presName="descendantText" presStyleLbl="alignAccFollowNode1" presStyleIdx="0" presStyleCnt="1" custScaleY="125122" custLinFactNeighborY="-5141">
        <dgm:presLayoutVars>
          <dgm:bulletEnabled val="1"/>
        </dgm:presLayoutVars>
      </dgm:prSet>
      <dgm:spPr/>
      <dgm:t>
        <a:bodyPr/>
        <a:lstStyle/>
        <a:p>
          <a:endParaRPr lang="it-IT"/>
        </a:p>
      </dgm:t>
    </dgm:pt>
  </dgm:ptLst>
  <dgm:cxnLst>
    <dgm:cxn modelId="{C6211E88-C192-41A1-AF7A-9C938B964870}" srcId="{F23A2E33-A7A9-4C0C-9E2D-FE9B09B27B0C}" destId="{072475CA-39E6-44D8-A471-577AF76DB987}" srcOrd="1" destOrd="0" parTransId="{070F04A9-CFCA-417D-BF32-5D77678E5752}" sibTransId="{1791BB8A-C1A4-4EF3-A97F-FD08B5B2C1B9}"/>
    <dgm:cxn modelId="{92BEFAC6-5D71-4952-9BAD-FF1180A2D285}" type="presOf" srcId="{BE3B8733-AE13-4A7B-A32B-B74DE4C528D7}" destId="{67CAF0F0-11C7-41D4-B458-17DD1ACC65D7}" srcOrd="0" destOrd="0" presId="urn:microsoft.com/office/officeart/2005/8/layout/vList5"/>
    <dgm:cxn modelId="{E76A9A63-FF32-4781-921F-6A2A67CD1E02}" srcId="{F23A2E33-A7A9-4C0C-9E2D-FE9B09B27B0C}" destId="{FA935D20-D649-4F38-A41B-69E90530D632}" srcOrd="0" destOrd="0" parTransId="{BFFBD901-FEFF-45F6-A478-CF6D74317EA2}" sibTransId="{75DA65DA-F2A3-4A8F-8248-871D3727B6B8}"/>
    <dgm:cxn modelId="{D11EE4EC-F6C5-4BA0-B059-990C33139BA9}" type="presOf" srcId="{072475CA-39E6-44D8-A471-577AF76DB987}" destId="{19C3370D-7B6A-4F3C-8C78-C38DF1D2FA31}" srcOrd="0" destOrd="1" presId="urn:microsoft.com/office/officeart/2005/8/layout/vList5"/>
    <dgm:cxn modelId="{35B47E5E-53AB-4280-BFEA-6B530D744F23}" type="presOf" srcId="{F23A2E33-A7A9-4C0C-9E2D-FE9B09B27B0C}" destId="{4B75031E-EAE2-44AE-A204-79AAE3CD8BF2}" srcOrd="0" destOrd="0" presId="urn:microsoft.com/office/officeart/2005/8/layout/vList5"/>
    <dgm:cxn modelId="{AA13AB5C-83C5-45C1-864A-5D3145E95840}" srcId="{BE3B8733-AE13-4A7B-A32B-B74DE4C528D7}" destId="{F23A2E33-A7A9-4C0C-9E2D-FE9B09B27B0C}" srcOrd="0" destOrd="0" parTransId="{4B3C5EFE-833D-4256-8D22-790DD4FEA846}" sibTransId="{CE2E410B-761E-4681-BB83-5F0176147C43}"/>
    <dgm:cxn modelId="{F79E068A-A4ED-4DE3-8D70-A335E0C082BA}" type="presOf" srcId="{FA935D20-D649-4F38-A41B-69E90530D632}" destId="{19C3370D-7B6A-4F3C-8C78-C38DF1D2FA31}" srcOrd="0" destOrd="0" presId="urn:microsoft.com/office/officeart/2005/8/layout/vList5"/>
    <dgm:cxn modelId="{DEC37520-1AD8-4096-B272-F621FE9B1B5A}" type="presParOf" srcId="{67CAF0F0-11C7-41D4-B458-17DD1ACC65D7}" destId="{91EF4C2B-0965-4D66-A48D-ECB7ACAE5C2D}" srcOrd="0" destOrd="0" presId="urn:microsoft.com/office/officeart/2005/8/layout/vList5"/>
    <dgm:cxn modelId="{36EFF5F3-3E09-4601-9F21-EE8F6EEB34F6}" type="presParOf" srcId="{91EF4C2B-0965-4D66-A48D-ECB7ACAE5C2D}" destId="{4B75031E-EAE2-44AE-A204-79AAE3CD8BF2}" srcOrd="0" destOrd="0" presId="urn:microsoft.com/office/officeart/2005/8/layout/vList5"/>
    <dgm:cxn modelId="{695D82BD-7B6F-4883-AF3A-4CF9269B19C9}" type="presParOf" srcId="{91EF4C2B-0965-4D66-A48D-ECB7ACAE5C2D}" destId="{19C3370D-7B6A-4F3C-8C78-C38DF1D2FA31}"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it-IT"/>
        </a:p>
      </dgm:t>
    </dgm:pt>
    <dgm:pt modelId="{2BF37BE0-F1C9-4327-8D6B-194C8F2CF94F}">
      <dgm:prSet/>
      <dgm:spPr/>
      <dgm:t>
        <a:bodyPr/>
        <a:lstStyle/>
        <a:p>
          <a:pPr rtl="0"/>
          <a:r>
            <a:rPr lang="it-IT" b="1" dirty="0" smtClean="0">
              <a:solidFill>
                <a:schemeClr val="accent1">
                  <a:lumMod val="75000"/>
                </a:schemeClr>
              </a:solidFill>
            </a:rPr>
            <a:t>Avvio Tavoli Tematici</a:t>
          </a:r>
          <a:endParaRPr lang="it-IT" b="1" dirty="0">
            <a:solidFill>
              <a:schemeClr val="accent1">
                <a:lumMod val="75000"/>
              </a:schemeClr>
            </a:solidFill>
          </a:endParaRPr>
        </a:p>
      </dgm:t>
    </dgm:pt>
    <dgm:pt modelId="{4AA17FDB-A052-4790-AE95-CF73ACE16E71}" type="parTrans" cxnId="{61C24A8C-0B83-4B1F-AD85-E5EDDAA1AC00}">
      <dgm:prSet/>
      <dgm:spPr/>
      <dgm:t>
        <a:bodyPr/>
        <a:lstStyle/>
        <a:p>
          <a:endParaRPr lang="it-IT"/>
        </a:p>
      </dgm:t>
    </dgm:pt>
    <dgm:pt modelId="{C167467F-04BA-4DE5-90F4-5BF53279866E}" type="sibTrans" cxnId="{61C24A8C-0B83-4B1F-AD85-E5EDDAA1AC00}">
      <dgm:prSet/>
      <dgm:spPr/>
      <dgm:t>
        <a:bodyPr/>
        <a:lstStyle/>
        <a:p>
          <a:endParaRPr lang="it-IT"/>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3F2655DD-D82C-4A32-89A6-0C5EF0DFD1DA}" type="presOf" srcId="{2BF37BE0-F1C9-4327-8D6B-194C8F2CF94F}" destId="{7D920113-6D83-4974-923F-4CAA40CA2FDB}"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3D8D11BD-C922-436F-8257-9111BAE40DBC}" type="presOf" srcId="{37F295A9-2A2E-416D-9AE6-C3404377959E}" destId="{58FB0A67-F67A-40BA-890E-A840ED83B605}" srcOrd="0" destOrd="0" presId="urn:microsoft.com/office/officeart/2008/layout/LinedList"/>
    <dgm:cxn modelId="{66E9CAEA-CAB0-4379-85A3-40920C4D7D39}" type="presParOf" srcId="{58FB0A67-F67A-40BA-890E-A840ED83B605}" destId="{AB26EC88-0333-42E8-B340-C2B4FE18384A}" srcOrd="0" destOrd="0" presId="urn:microsoft.com/office/officeart/2008/layout/LinedList"/>
    <dgm:cxn modelId="{4A34A972-7170-4A6D-912D-EF3F0EE96249}" type="presParOf" srcId="{58FB0A67-F67A-40BA-890E-A840ED83B605}" destId="{45792684-4DE0-4EDD-B49A-A40AB3BD4B9E}" srcOrd="1" destOrd="0" presId="urn:microsoft.com/office/officeart/2008/layout/LinedList"/>
    <dgm:cxn modelId="{6274442A-61C9-4244-91AF-E10337B04C10}" type="presParOf" srcId="{45792684-4DE0-4EDD-B49A-A40AB3BD4B9E}" destId="{7D920113-6D83-4974-923F-4CAA40CA2FDB}" srcOrd="0" destOrd="0" presId="urn:microsoft.com/office/officeart/2008/layout/LinedList"/>
    <dgm:cxn modelId="{8BFE525E-176F-47E7-B502-9EDB10CD2C82}"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dgm:spPr/>
      <dgm:t>
        <a:bodyPr/>
        <a:lstStyle/>
        <a:p>
          <a:pPr rtl="0"/>
          <a:r>
            <a:rPr lang="it-IT" b="1" dirty="0" smtClean="0">
              <a:solidFill>
                <a:schemeClr val="accent1">
                  <a:lumMod val="75000"/>
                </a:schemeClr>
              </a:solidFill>
            </a:rPr>
            <a:t>Ambiti di Specializzazione del Tavolo Tematico</a:t>
          </a:r>
          <a:endParaRPr lang="it-IT" b="1" dirty="0">
            <a:solidFill>
              <a:schemeClr val="accent1">
                <a:lumMod val="75000"/>
              </a:schemeClr>
            </a:solidFill>
          </a:endParaRPr>
        </a:p>
      </dgm:t>
    </dgm:pt>
    <dgm:pt modelId="{4AA17FDB-A052-4790-AE95-CF73ACE16E71}" type="parTrans" cxnId="{61C24A8C-0B83-4B1F-AD85-E5EDDAA1AC00}">
      <dgm:prSet/>
      <dgm:spPr/>
      <dgm:t>
        <a:bodyPr/>
        <a:lstStyle/>
        <a:p>
          <a:endParaRPr lang="it-IT"/>
        </a:p>
      </dgm:t>
    </dgm:pt>
    <dgm:pt modelId="{C167467F-04BA-4DE5-90F4-5BF53279866E}" type="sibTrans" cxnId="{61C24A8C-0B83-4B1F-AD85-E5EDDAA1AC00}">
      <dgm:prSet/>
      <dgm:spPr/>
      <dgm:t>
        <a:bodyPr/>
        <a:lstStyle/>
        <a:p>
          <a:endParaRPr lang="it-IT"/>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A9A2A334-0C02-415E-9180-8D7C7DE451BB}" type="presOf" srcId="{2BF37BE0-F1C9-4327-8D6B-194C8F2CF94F}" destId="{7D920113-6D83-4974-923F-4CAA40CA2FDB}"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076D1D3E-31E5-427D-98A4-87E08520D5D2}" type="presOf" srcId="{37F295A9-2A2E-416D-9AE6-C3404377959E}" destId="{58FB0A67-F67A-40BA-890E-A840ED83B605}" srcOrd="0" destOrd="0" presId="urn:microsoft.com/office/officeart/2008/layout/LinedList"/>
    <dgm:cxn modelId="{70CD12FE-EE8D-4919-90EC-24607EFD3494}" type="presParOf" srcId="{58FB0A67-F67A-40BA-890E-A840ED83B605}" destId="{AB26EC88-0333-42E8-B340-C2B4FE18384A}" srcOrd="0" destOrd="0" presId="urn:microsoft.com/office/officeart/2008/layout/LinedList"/>
    <dgm:cxn modelId="{B62E679C-7480-4295-84D6-A437D808922C}" type="presParOf" srcId="{58FB0A67-F67A-40BA-890E-A840ED83B605}" destId="{45792684-4DE0-4EDD-B49A-A40AB3BD4B9E}" srcOrd="1" destOrd="0" presId="urn:microsoft.com/office/officeart/2008/layout/LinedList"/>
    <dgm:cxn modelId="{B412AD2D-1946-46E3-A4E3-0BDDFA92A6A3}" type="presParOf" srcId="{45792684-4DE0-4EDD-B49A-A40AB3BD4B9E}" destId="{7D920113-6D83-4974-923F-4CAA40CA2FDB}" srcOrd="0" destOrd="0" presId="urn:microsoft.com/office/officeart/2008/layout/LinedList"/>
    <dgm:cxn modelId="{27C763BF-535B-4D2D-80A3-DB18C87FD009}"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6368E725-06F6-4EAD-9E0F-B66D4033C629}" type="doc">
      <dgm:prSet loTypeId="urn:microsoft.com/office/officeart/2005/8/layout/cycle8" loCatId="cycle" qsTypeId="urn:microsoft.com/office/officeart/2005/8/quickstyle/simple1#8" qsCatId="simple" csTypeId="urn:microsoft.com/office/officeart/2005/8/colors/accent6_1" csCatId="accent6" phldr="1"/>
      <dgm:spPr/>
    </dgm:pt>
    <dgm:pt modelId="{0C9909B0-C4D1-4673-8FE9-7FB1B3537D5F}">
      <dgm:prSet phldrT="[Testo]"/>
      <dgm:spPr/>
      <dgm:t>
        <a:bodyPr/>
        <a:lstStyle/>
        <a:p>
          <a:r>
            <a:rPr lang="it-IT" dirty="0" smtClean="0"/>
            <a:t>Primo progress</a:t>
          </a:r>
          <a:endParaRPr lang="it-IT" dirty="0"/>
        </a:p>
      </dgm:t>
    </dgm:pt>
    <dgm:pt modelId="{AD2FB2EF-CC11-422C-904C-430DED4E6E9E}" type="parTrans" cxnId="{D2A09C40-91F6-4B6C-A7B7-BDF212B78F01}">
      <dgm:prSet/>
      <dgm:spPr/>
      <dgm:t>
        <a:bodyPr/>
        <a:lstStyle/>
        <a:p>
          <a:endParaRPr lang="it-IT"/>
        </a:p>
      </dgm:t>
    </dgm:pt>
    <dgm:pt modelId="{2335EC0B-2C5E-40AC-8E84-BDE82BDB4B85}" type="sibTrans" cxnId="{D2A09C40-91F6-4B6C-A7B7-BDF212B78F01}">
      <dgm:prSet/>
      <dgm:spPr/>
      <dgm:t>
        <a:bodyPr/>
        <a:lstStyle/>
        <a:p>
          <a:endParaRPr lang="it-IT"/>
        </a:p>
      </dgm:t>
    </dgm:pt>
    <dgm:pt modelId="{C052A170-C5E2-46F5-AFD6-B9CAE75C92A2}">
      <dgm:prSet phldrT="[Testo]"/>
      <dgm:spPr/>
      <dgm:t>
        <a:bodyPr/>
        <a:lstStyle/>
        <a:p>
          <a:r>
            <a:rPr lang="it-IT" dirty="0" smtClean="0"/>
            <a:t>Secondo progress</a:t>
          </a:r>
          <a:endParaRPr lang="it-IT" dirty="0"/>
        </a:p>
      </dgm:t>
    </dgm:pt>
    <dgm:pt modelId="{C6F3C0F1-0242-4038-AFCB-C5A03B118BFA}" type="parTrans" cxnId="{1D8DB658-48EE-4C74-8266-7F397B268996}">
      <dgm:prSet/>
      <dgm:spPr/>
      <dgm:t>
        <a:bodyPr/>
        <a:lstStyle/>
        <a:p>
          <a:endParaRPr lang="it-IT"/>
        </a:p>
      </dgm:t>
    </dgm:pt>
    <dgm:pt modelId="{7B47B23C-536D-4D10-A1FC-69DC534B777E}" type="sibTrans" cxnId="{1D8DB658-48EE-4C74-8266-7F397B268996}">
      <dgm:prSet/>
      <dgm:spPr/>
      <dgm:t>
        <a:bodyPr/>
        <a:lstStyle/>
        <a:p>
          <a:endParaRPr lang="it-IT"/>
        </a:p>
      </dgm:t>
    </dgm:pt>
    <dgm:pt modelId="{B274D4BD-F86B-4929-8634-F6F23559CF48}" type="pres">
      <dgm:prSet presAssocID="{6368E725-06F6-4EAD-9E0F-B66D4033C629}" presName="compositeShape" presStyleCnt="0">
        <dgm:presLayoutVars>
          <dgm:chMax val="7"/>
          <dgm:dir/>
          <dgm:resizeHandles val="exact"/>
        </dgm:presLayoutVars>
      </dgm:prSet>
      <dgm:spPr/>
    </dgm:pt>
    <dgm:pt modelId="{722A1584-12A4-45C1-ACD7-958A7385C148}" type="pres">
      <dgm:prSet presAssocID="{6368E725-06F6-4EAD-9E0F-B66D4033C629}" presName="wedge1" presStyleLbl="node1" presStyleIdx="0" presStyleCnt="2"/>
      <dgm:spPr/>
      <dgm:t>
        <a:bodyPr/>
        <a:lstStyle/>
        <a:p>
          <a:endParaRPr lang="it-IT"/>
        </a:p>
      </dgm:t>
    </dgm:pt>
    <dgm:pt modelId="{3816EB57-8CB9-4243-883D-9495CA88C90A}" type="pres">
      <dgm:prSet presAssocID="{6368E725-06F6-4EAD-9E0F-B66D4033C629}" presName="dummy1a" presStyleCnt="0"/>
      <dgm:spPr/>
    </dgm:pt>
    <dgm:pt modelId="{E1E9E9C3-A608-4384-944F-7C480E88E4FF}" type="pres">
      <dgm:prSet presAssocID="{6368E725-06F6-4EAD-9E0F-B66D4033C629}" presName="dummy1b" presStyleCnt="0"/>
      <dgm:spPr/>
    </dgm:pt>
    <dgm:pt modelId="{3BCC67D8-283E-41D7-9E04-1D82D2FAC8D1}" type="pres">
      <dgm:prSet presAssocID="{6368E725-06F6-4EAD-9E0F-B66D4033C629}" presName="wedge1Tx" presStyleLbl="node1" presStyleIdx="0" presStyleCnt="2">
        <dgm:presLayoutVars>
          <dgm:chMax val="0"/>
          <dgm:chPref val="0"/>
          <dgm:bulletEnabled val="1"/>
        </dgm:presLayoutVars>
      </dgm:prSet>
      <dgm:spPr/>
      <dgm:t>
        <a:bodyPr/>
        <a:lstStyle/>
        <a:p>
          <a:endParaRPr lang="it-IT"/>
        </a:p>
      </dgm:t>
    </dgm:pt>
    <dgm:pt modelId="{911D987E-41D9-4858-92D0-BAC1D4352876}" type="pres">
      <dgm:prSet presAssocID="{6368E725-06F6-4EAD-9E0F-B66D4033C629}" presName="wedge2" presStyleLbl="node1" presStyleIdx="1" presStyleCnt="2"/>
      <dgm:spPr/>
      <dgm:t>
        <a:bodyPr/>
        <a:lstStyle/>
        <a:p>
          <a:endParaRPr lang="it-IT"/>
        </a:p>
      </dgm:t>
    </dgm:pt>
    <dgm:pt modelId="{DEB098EB-AE9B-451C-92E3-682CC1314882}" type="pres">
      <dgm:prSet presAssocID="{6368E725-06F6-4EAD-9E0F-B66D4033C629}" presName="dummy2a" presStyleCnt="0"/>
      <dgm:spPr/>
    </dgm:pt>
    <dgm:pt modelId="{E3A2AB01-BB81-4D50-ADDB-959D1112D5CE}" type="pres">
      <dgm:prSet presAssocID="{6368E725-06F6-4EAD-9E0F-B66D4033C629}" presName="dummy2b" presStyleCnt="0"/>
      <dgm:spPr/>
    </dgm:pt>
    <dgm:pt modelId="{F82E0761-BF61-4696-92A8-0EFB29262AFB}" type="pres">
      <dgm:prSet presAssocID="{6368E725-06F6-4EAD-9E0F-B66D4033C629}" presName="wedge2Tx" presStyleLbl="node1" presStyleIdx="1" presStyleCnt="2">
        <dgm:presLayoutVars>
          <dgm:chMax val="0"/>
          <dgm:chPref val="0"/>
          <dgm:bulletEnabled val="1"/>
        </dgm:presLayoutVars>
      </dgm:prSet>
      <dgm:spPr/>
      <dgm:t>
        <a:bodyPr/>
        <a:lstStyle/>
        <a:p>
          <a:endParaRPr lang="it-IT"/>
        </a:p>
      </dgm:t>
    </dgm:pt>
    <dgm:pt modelId="{091889A5-5D1D-4DA7-941E-C8B05D965E22}" type="pres">
      <dgm:prSet presAssocID="{2335EC0B-2C5E-40AC-8E84-BDE82BDB4B85}" presName="arrowWedge1" presStyleLbl="fgSibTrans2D1" presStyleIdx="0" presStyleCnt="2"/>
      <dgm:spPr/>
    </dgm:pt>
    <dgm:pt modelId="{8FA0F59F-4621-418C-96D7-0810ADA847CA}" type="pres">
      <dgm:prSet presAssocID="{7B47B23C-536D-4D10-A1FC-69DC534B777E}" presName="arrowWedge2" presStyleLbl="fgSibTrans2D1" presStyleIdx="1" presStyleCnt="2"/>
      <dgm:spPr>
        <a:solidFill>
          <a:schemeClr val="accent6">
            <a:lumMod val="75000"/>
          </a:schemeClr>
        </a:solidFill>
      </dgm:spPr>
    </dgm:pt>
  </dgm:ptLst>
  <dgm:cxnLst>
    <dgm:cxn modelId="{D2A09C40-91F6-4B6C-A7B7-BDF212B78F01}" srcId="{6368E725-06F6-4EAD-9E0F-B66D4033C629}" destId="{0C9909B0-C4D1-4673-8FE9-7FB1B3537D5F}" srcOrd="0" destOrd="0" parTransId="{AD2FB2EF-CC11-422C-904C-430DED4E6E9E}" sibTransId="{2335EC0B-2C5E-40AC-8E84-BDE82BDB4B85}"/>
    <dgm:cxn modelId="{51C4E27A-6A7E-4E0E-9A4E-806CEE4859B6}" type="presOf" srcId="{0C9909B0-C4D1-4673-8FE9-7FB1B3537D5F}" destId="{3BCC67D8-283E-41D7-9E04-1D82D2FAC8D1}" srcOrd="1" destOrd="0" presId="urn:microsoft.com/office/officeart/2005/8/layout/cycle8"/>
    <dgm:cxn modelId="{1D8DB658-48EE-4C74-8266-7F397B268996}" srcId="{6368E725-06F6-4EAD-9E0F-B66D4033C629}" destId="{C052A170-C5E2-46F5-AFD6-B9CAE75C92A2}" srcOrd="1" destOrd="0" parTransId="{C6F3C0F1-0242-4038-AFCB-C5A03B118BFA}" sibTransId="{7B47B23C-536D-4D10-A1FC-69DC534B777E}"/>
    <dgm:cxn modelId="{45906D9A-6628-4D34-83C1-89203ED0C76D}" type="presOf" srcId="{C052A170-C5E2-46F5-AFD6-B9CAE75C92A2}" destId="{911D987E-41D9-4858-92D0-BAC1D4352876}" srcOrd="0" destOrd="0" presId="urn:microsoft.com/office/officeart/2005/8/layout/cycle8"/>
    <dgm:cxn modelId="{AA2BD982-F3D6-4693-81CE-7C21F969AFEF}" type="presOf" srcId="{C052A170-C5E2-46F5-AFD6-B9CAE75C92A2}" destId="{F82E0761-BF61-4696-92A8-0EFB29262AFB}" srcOrd="1" destOrd="0" presId="urn:microsoft.com/office/officeart/2005/8/layout/cycle8"/>
    <dgm:cxn modelId="{175AE911-8016-40F9-A9CC-734A434302AB}" type="presOf" srcId="{6368E725-06F6-4EAD-9E0F-B66D4033C629}" destId="{B274D4BD-F86B-4929-8634-F6F23559CF48}" srcOrd="0" destOrd="0" presId="urn:microsoft.com/office/officeart/2005/8/layout/cycle8"/>
    <dgm:cxn modelId="{7124997D-4410-4332-BBFE-3E01B3283A89}" type="presOf" srcId="{0C9909B0-C4D1-4673-8FE9-7FB1B3537D5F}" destId="{722A1584-12A4-45C1-ACD7-958A7385C148}" srcOrd="0" destOrd="0" presId="urn:microsoft.com/office/officeart/2005/8/layout/cycle8"/>
    <dgm:cxn modelId="{F9CEF788-633B-4631-A896-368C6FAB6AF6}" type="presParOf" srcId="{B274D4BD-F86B-4929-8634-F6F23559CF48}" destId="{722A1584-12A4-45C1-ACD7-958A7385C148}" srcOrd="0" destOrd="0" presId="urn:microsoft.com/office/officeart/2005/8/layout/cycle8"/>
    <dgm:cxn modelId="{938817E9-56B4-46C0-956A-1B9B0736FCBA}" type="presParOf" srcId="{B274D4BD-F86B-4929-8634-F6F23559CF48}" destId="{3816EB57-8CB9-4243-883D-9495CA88C90A}" srcOrd="1" destOrd="0" presId="urn:microsoft.com/office/officeart/2005/8/layout/cycle8"/>
    <dgm:cxn modelId="{D31979F2-7C1D-4B58-9D53-B3C10568B910}" type="presParOf" srcId="{B274D4BD-F86B-4929-8634-F6F23559CF48}" destId="{E1E9E9C3-A608-4384-944F-7C480E88E4FF}" srcOrd="2" destOrd="0" presId="urn:microsoft.com/office/officeart/2005/8/layout/cycle8"/>
    <dgm:cxn modelId="{E331C33A-2DF9-4988-8B99-1ACC96D1E20D}" type="presParOf" srcId="{B274D4BD-F86B-4929-8634-F6F23559CF48}" destId="{3BCC67D8-283E-41D7-9E04-1D82D2FAC8D1}" srcOrd="3" destOrd="0" presId="urn:microsoft.com/office/officeart/2005/8/layout/cycle8"/>
    <dgm:cxn modelId="{EB44D86F-E027-4DAA-9CB9-466E458F1CA8}" type="presParOf" srcId="{B274D4BD-F86B-4929-8634-F6F23559CF48}" destId="{911D987E-41D9-4858-92D0-BAC1D4352876}" srcOrd="4" destOrd="0" presId="urn:microsoft.com/office/officeart/2005/8/layout/cycle8"/>
    <dgm:cxn modelId="{E78DD663-7813-429D-84B7-F0BA6B95B54C}" type="presParOf" srcId="{B274D4BD-F86B-4929-8634-F6F23559CF48}" destId="{DEB098EB-AE9B-451C-92E3-682CC1314882}" srcOrd="5" destOrd="0" presId="urn:microsoft.com/office/officeart/2005/8/layout/cycle8"/>
    <dgm:cxn modelId="{051C9AF9-8257-43A9-A410-79C1F88ED0B6}" type="presParOf" srcId="{B274D4BD-F86B-4929-8634-F6F23559CF48}" destId="{E3A2AB01-BB81-4D50-ADDB-959D1112D5CE}" srcOrd="6" destOrd="0" presId="urn:microsoft.com/office/officeart/2005/8/layout/cycle8"/>
    <dgm:cxn modelId="{0829C12A-99C2-4ABC-968F-60D15194CC47}" type="presParOf" srcId="{B274D4BD-F86B-4929-8634-F6F23559CF48}" destId="{F82E0761-BF61-4696-92A8-0EFB29262AFB}" srcOrd="7" destOrd="0" presId="urn:microsoft.com/office/officeart/2005/8/layout/cycle8"/>
    <dgm:cxn modelId="{F28D47D5-053F-4A01-9A96-59A07BE17B4B}" type="presParOf" srcId="{B274D4BD-F86B-4929-8634-F6F23559CF48}" destId="{091889A5-5D1D-4DA7-941E-C8B05D965E22}" srcOrd="8" destOrd="0" presId="urn:microsoft.com/office/officeart/2005/8/layout/cycle8"/>
    <dgm:cxn modelId="{DEF6162E-3239-43E7-A1F5-F5E4E01681BF}" type="presParOf" srcId="{B274D4BD-F86B-4929-8634-F6F23559CF48}" destId="{8FA0F59F-4621-418C-96D7-0810ADA847CA}" srcOrd="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E3B8733-AE13-4A7B-A32B-B74DE4C528D7}" type="doc">
      <dgm:prSet loTypeId="urn:microsoft.com/office/officeart/2005/8/layout/vList5" loCatId="list" qsTypeId="urn:microsoft.com/office/officeart/2005/8/quickstyle/3d1" qsCatId="3D" csTypeId="urn:microsoft.com/office/officeart/2005/8/colors/accent2_5" csCatId="accent2" phldr="1"/>
      <dgm:spPr/>
      <dgm:t>
        <a:bodyPr/>
        <a:lstStyle/>
        <a:p>
          <a:endParaRPr lang="it-IT"/>
        </a:p>
      </dgm:t>
    </dgm:pt>
    <dgm:pt modelId="{F23A2E33-A7A9-4C0C-9E2D-FE9B09B27B0C}">
      <dgm:prSet phldrT="[Testo]" custT="1"/>
      <dgm:spPr/>
      <dgm:t>
        <a:bodyPr/>
        <a:lstStyle/>
        <a:p>
          <a:r>
            <a:rPr lang="it-IT" sz="2000" b="1" dirty="0" smtClean="0"/>
            <a:t>TAVOLO TEMATICO TURISMO, CULTURA E BENI CULTURALI</a:t>
          </a:r>
          <a:endParaRPr lang="it-IT" sz="2000" b="1" dirty="0"/>
        </a:p>
      </dgm:t>
    </dgm:pt>
    <dgm:pt modelId="{4B3C5EFE-833D-4256-8D22-790DD4FEA846}" type="parTrans" cxnId="{AA13AB5C-83C5-45C1-864A-5D3145E95840}">
      <dgm:prSet/>
      <dgm:spPr/>
      <dgm:t>
        <a:bodyPr/>
        <a:lstStyle/>
        <a:p>
          <a:endParaRPr lang="it-IT" sz="2000"/>
        </a:p>
      </dgm:t>
    </dgm:pt>
    <dgm:pt modelId="{CE2E410B-761E-4681-BB83-5F0176147C43}" type="sibTrans" cxnId="{AA13AB5C-83C5-45C1-864A-5D3145E95840}">
      <dgm:prSet/>
      <dgm:spPr/>
      <dgm:t>
        <a:bodyPr/>
        <a:lstStyle/>
        <a:p>
          <a:endParaRPr lang="it-IT" sz="2000"/>
        </a:p>
      </dgm:t>
    </dgm:pt>
    <dgm:pt modelId="{FA935D20-D649-4F38-A41B-69E90530D632}">
      <dgm:prSet phldrT="[Testo]" custT="1"/>
      <dgm:spPr/>
      <dgm:t>
        <a:bodyPr/>
        <a:lstStyle/>
        <a:p>
          <a:r>
            <a:rPr lang="it-IT" sz="2000" b="0" dirty="0" smtClean="0">
              <a:solidFill>
                <a:schemeClr val="accent1"/>
              </a:solidFill>
            </a:rPr>
            <a:t>Referenti </a:t>
          </a:r>
          <a:r>
            <a:rPr lang="it-IT" sz="2000" b="0" dirty="0" err="1" smtClean="0">
              <a:solidFill>
                <a:schemeClr val="accent1"/>
              </a:solidFill>
            </a:rPr>
            <a:t>GdL</a:t>
          </a:r>
          <a:r>
            <a:rPr lang="it-IT" sz="2000" b="0" dirty="0" smtClean="0">
              <a:solidFill>
                <a:schemeClr val="accent1"/>
              </a:solidFill>
            </a:rPr>
            <a:t> </a:t>
          </a:r>
          <a:r>
            <a:rPr lang="it-IT" sz="2000" b="0" dirty="0" err="1" smtClean="0">
              <a:solidFill>
                <a:schemeClr val="accent1"/>
              </a:solidFill>
            </a:rPr>
            <a:t>interdiscipinare</a:t>
          </a:r>
          <a:endParaRPr lang="it-IT" sz="2000" b="0" dirty="0">
            <a:solidFill>
              <a:schemeClr val="accent1"/>
            </a:solidFill>
          </a:endParaRPr>
        </a:p>
      </dgm:t>
    </dgm:pt>
    <dgm:pt modelId="{BFFBD901-FEFF-45F6-A478-CF6D74317EA2}" type="parTrans" cxnId="{E76A9A63-FF32-4781-921F-6A2A67CD1E02}">
      <dgm:prSet/>
      <dgm:spPr/>
      <dgm:t>
        <a:bodyPr/>
        <a:lstStyle/>
        <a:p>
          <a:endParaRPr lang="it-IT" sz="2000"/>
        </a:p>
      </dgm:t>
    </dgm:pt>
    <dgm:pt modelId="{75DA65DA-F2A3-4A8F-8248-871D3727B6B8}" type="sibTrans" cxnId="{E76A9A63-FF32-4781-921F-6A2A67CD1E02}">
      <dgm:prSet/>
      <dgm:spPr/>
      <dgm:t>
        <a:bodyPr/>
        <a:lstStyle/>
        <a:p>
          <a:endParaRPr lang="it-IT" sz="2000"/>
        </a:p>
      </dgm:t>
    </dgm:pt>
    <dgm:pt modelId="{89F07F7C-8BA3-46F7-A28D-8A6C31313FEE}">
      <dgm:prSet phldrT="[Testo]" custT="1"/>
      <dgm:spPr/>
      <dgm:t>
        <a:bodyPr/>
        <a:lstStyle/>
        <a:p>
          <a:r>
            <a:rPr lang="it-IT" sz="2000" b="0" dirty="0" smtClean="0">
              <a:solidFill>
                <a:schemeClr val="accent1"/>
              </a:solidFill>
            </a:rPr>
            <a:t>Esperti nazionali </a:t>
          </a:r>
          <a:r>
            <a:rPr lang="it-IT" sz="2000" b="0" dirty="0" err="1" smtClean="0">
              <a:solidFill>
                <a:schemeClr val="accent1"/>
              </a:solidFill>
            </a:rPr>
            <a:t>MiSE</a:t>
          </a:r>
          <a:r>
            <a:rPr lang="it-IT" sz="2000" b="0" dirty="0" smtClean="0">
              <a:solidFill>
                <a:schemeClr val="accent1"/>
              </a:solidFill>
            </a:rPr>
            <a:t> - MIUR</a:t>
          </a:r>
          <a:endParaRPr lang="it-IT" sz="2000" b="0" dirty="0">
            <a:solidFill>
              <a:schemeClr val="accent1"/>
            </a:solidFill>
          </a:endParaRPr>
        </a:p>
      </dgm:t>
    </dgm:pt>
    <dgm:pt modelId="{331569E9-EE59-498E-9B5F-54872AAB6155}" type="parTrans" cxnId="{1DB134B3-7029-4867-8530-044DDD05C6A7}">
      <dgm:prSet/>
      <dgm:spPr/>
      <dgm:t>
        <a:bodyPr/>
        <a:lstStyle/>
        <a:p>
          <a:endParaRPr lang="it-IT" sz="2000"/>
        </a:p>
      </dgm:t>
    </dgm:pt>
    <dgm:pt modelId="{D5429856-796F-4F08-B731-87F79A2D3D0C}" type="sibTrans" cxnId="{1DB134B3-7029-4867-8530-044DDD05C6A7}">
      <dgm:prSet/>
      <dgm:spPr/>
      <dgm:t>
        <a:bodyPr/>
        <a:lstStyle/>
        <a:p>
          <a:endParaRPr lang="it-IT" sz="2000"/>
        </a:p>
      </dgm:t>
    </dgm:pt>
    <dgm:pt modelId="{8BB6A080-A949-4D1C-B030-163CE8EC11BC}">
      <dgm:prSet phldrT="[Testo]" custT="1"/>
      <dgm:spPr/>
      <dgm:t>
        <a:bodyPr/>
        <a:lstStyle/>
        <a:p>
          <a:r>
            <a:rPr lang="it-IT" sz="2000" b="0" dirty="0" smtClean="0">
              <a:solidFill>
                <a:srgbClr val="FF0000"/>
              </a:solidFill>
            </a:rPr>
            <a:t>Attori del territorio portatori di conoscenze e competenze che hanno inviato il modulo di adesione  </a:t>
          </a:r>
          <a:endParaRPr lang="it-IT" sz="2000" b="0" dirty="0">
            <a:solidFill>
              <a:srgbClr val="FF0000"/>
            </a:solidFill>
          </a:endParaRPr>
        </a:p>
      </dgm:t>
    </dgm:pt>
    <dgm:pt modelId="{B7D68DE0-F979-4024-9E91-C355F70A818F}" type="parTrans" cxnId="{46B7F6E8-B65C-483A-96AC-86247C4F21DA}">
      <dgm:prSet/>
      <dgm:spPr/>
      <dgm:t>
        <a:bodyPr/>
        <a:lstStyle/>
        <a:p>
          <a:endParaRPr lang="it-IT" sz="2000"/>
        </a:p>
      </dgm:t>
    </dgm:pt>
    <dgm:pt modelId="{94EAB1A3-E966-4F06-B413-5526B2035841}" type="sibTrans" cxnId="{46B7F6E8-B65C-483A-96AC-86247C4F21DA}">
      <dgm:prSet/>
      <dgm:spPr/>
      <dgm:t>
        <a:bodyPr/>
        <a:lstStyle/>
        <a:p>
          <a:endParaRPr lang="it-IT" sz="2000"/>
        </a:p>
      </dgm:t>
    </dgm:pt>
    <dgm:pt modelId="{EC43B956-372B-403A-9F15-9A51E24CCC08}">
      <dgm:prSet phldrT="[Testo]" custT="1"/>
      <dgm:spPr/>
      <dgm:t>
        <a:bodyPr/>
        <a:lstStyle/>
        <a:p>
          <a:r>
            <a:rPr lang="it-IT" sz="2000" b="0" dirty="0" smtClean="0">
              <a:solidFill>
                <a:schemeClr val="accent1"/>
              </a:solidFill>
            </a:rPr>
            <a:t>Facilitatori</a:t>
          </a:r>
          <a:endParaRPr lang="it-IT" sz="2000" b="0" dirty="0">
            <a:solidFill>
              <a:schemeClr val="accent1"/>
            </a:solidFill>
          </a:endParaRPr>
        </a:p>
      </dgm:t>
    </dgm:pt>
    <dgm:pt modelId="{2C35DA52-C47F-49FF-8381-3D2B976F0974}" type="parTrans" cxnId="{123893C6-D1CF-4A3E-B249-8BE8CB6E8A60}">
      <dgm:prSet/>
      <dgm:spPr/>
      <dgm:t>
        <a:bodyPr/>
        <a:lstStyle/>
        <a:p>
          <a:endParaRPr lang="it-IT" sz="2000"/>
        </a:p>
      </dgm:t>
    </dgm:pt>
    <dgm:pt modelId="{2CD06480-FAED-4496-AC35-B7DBAAF42A19}" type="sibTrans" cxnId="{123893C6-D1CF-4A3E-B249-8BE8CB6E8A60}">
      <dgm:prSet/>
      <dgm:spPr/>
      <dgm:t>
        <a:bodyPr/>
        <a:lstStyle/>
        <a:p>
          <a:endParaRPr lang="it-IT" sz="2000"/>
        </a:p>
      </dgm:t>
    </dgm:pt>
    <dgm:pt modelId="{C626F9B2-0463-47D3-BA52-A872326A8ACE}">
      <dgm:prSet phldrT="[Testo]" custT="1"/>
      <dgm:spPr/>
      <dgm:t>
        <a:bodyPr/>
        <a:lstStyle/>
        <a:p>
          <a:r>
            <a:rPr lang="it-IT" sz="2000" b="0" dirty="0" smtClean="0">
              <a:solidFill>
                <a:schemeClr val="accent1"/>
              </a:solidFill>
            </a:rPr>
            <a:t>Referenti Dipartimenti regionali</a:t>
          </a:r>
          <a:endParaRPr lang="it-IT" sz="2000" b="0" dirty="0">
            <a:solidFill>
              <a:schemeClr val="accent1"/>
            </a:solidFill>
          </a:endParaRPr>
        </a:p>
      </dgm:t>
    </dgm:pt>
    <dgm:pt modelId="{621246B2-0F72-43CC-BBBD-4861827B02CA}" type="parTrans" cxnId="{926D403E-A820-4B35-8474-CECEDBE1FE93}">
      <dgm:prSet/>
      <dgm:spPr/>
      <dgm:t>
        <a:bodyPr/>
        <a:lstStyle/>
        <a:p>
          <a:endParaRPr lang="it-IT" sz="2000"/>
        </a:p>
      </dgm:t>
    </dgm:pt>
    <dgm:pt modelId="{2AB5A212-C1F2-4108-95E6-F5AF0A6EE3EB}" type="sibTrans" cxnId="{926D403E-A820-4B35-8474-CECEDBE1FE93}">
      <dgm:prSet/>
      <dgm:spPr/>
      <dgm:t>
        <a:bodyPr/>
        <a:lstStyle/>
        <a:p>
          <a:endParaRPr lang="it-IT" sz="2000"/>
        </a:p>
      </dgm:t>
    </dgm:pt>
    <dgm:pt modelId="{67CAF0F0-11C7-41D4-B458-17DD1ACC65D7}" type="pres">
      <dgm:prSet presAssocID="{BE3B8733-AE13-4A7B-A32B-B74DE4C528D7}" presName="Name0" presStyleCnt="0">
        <dgm:presLayoutVars>
          <dgm:dir/>
          <dgm:animLvl val="lvl"/>
          <dgm:resizeHandles val="exact"/>
        </dgm:presLayoutVars>
      </dgm:prSet>
      <dgm:spPr/>
      <dgm:t>
        <a:bodyPr/>
        <a:lstStyle/>
        <a:p>
          <a:endParaRPr lang="it-IT"/>
        </a:p>
      </dgm:t>
    </dgm:pt>
    <dgm:pt modelId="{91EF4C2B-0965-4D66-A48D-ECB7ACAE5C2D}" type="pres">
      <dgm:prSet presAssocID="{F23A2E33-A7A9-4C0C-9E2D-FE9B09B27B0C}" presName="linNode" presStyleCnt="0"/>
      <dgm:spPr/>
      <dgm:t>
        <a:bodyPr/>
        <a:lstStyle/>
        <a:p>
          <a:endParaRPr lang="it-IT"/>
        </a:p>
      </dgm:t>
    </dgm:pt>
    <dgm:pt modelId="{4B75031E-EAE2-44AE-A204-79AAE3CD8BF2}" type="pres">
      <dgm:prSet presAssocID="{F23A2E33-A7A9-4C0C-9E2D-FE9B09B27B0C}" presName="parentText" presStyleLbl="node1" presStyleIdx="0" presStyleCnt="1" custScaleX="106033" custLinFactNeighborX="-689" custLinFactNeighborY="2564">
        <dgm:presLayoutVars>
          <dgm:chMax val="1"/>
          <dgm:bulletEnabled val="1"/>
        </dgm:presLayoutVars>
      </dgm:prSet>
      <dgm:spPr/>
      <dgm:t>
        <a:bodyPr/>
        <a:lstStyle/>
        <a:p>
          <a:endParaRPr lang="it-IT"/>
        </a:p>
      </dgm:t>
    </dgm:pt>
    <dgm:pt modelId="{19C3370D-7B6A-4F3C-8C78-C38DF1D2FA31}" type="pres">
      <dgm:prSet presAssocID="{F23A2E33-A7A9-4C0C-9E2D-FE9B09B27B0C}" presName="descendantText" presStyleLbl="alignAccFollowNode1" presStyleIdx="0" presStyleCnt="1" custScaleX="124766" custScaleY="122865" custLinFactNeighborX="3125" custLinFactNeighborY="5343">
        <dgm:presLayoutVars>
          <dgm:bulletEnabled val="1"/>
        </dgm:presLayoutVars>
      </dgm:prSet>
      <dgm:spPr/>
      <dgm:t>
        <a:bodyPr/>
        <a:lstStyle/>
        <a:p>
          <a:endParaRPr lang="it-IT"/>
        </a:p>
      </dgm:t>
    </dgm:pt>
  </dgm:ptLst>
  <dgm:cxnLst>
    <dgm:cxn modelId="{E76A9A63-FF32-4781-921F-6A2A67CD1E02}" srcId="{F23A2E33-A7A9-4C0C-9E2D-FE9B09B27B0C}" destId="{FA935D20-D649-4F38-A41B-69E90530D632}" srcOrd="0" destOrd="0" parTransId="{BFFBD901-FEFF-45F6-A478-CF6D74317EA2}" sibTransId="{75DA65DA-F2A3-4A8F-8248-871D3727B6B8}"/>
    <dgm:cxn modelId="{AE6AF4B2-F88F-43F2-9956-BA5C181297C3}" type="presOf" srcId="{EC43B956-372B-403A-9F15-9A51E24CCC08}" destId="{19C3370D-7B6A-4F3C-8C78-C38DF1D2FA31}" srcOrd="0" destOrd="3" presId="urn:microsoft.com/office/officeart/2005/8/layout/vList5"/>
    <dgm:cxn modelId="{AE577E69-D9BD-4C7B-A6E7-081AC3D329BF}" type="presOf" srcId="{BE3B8733-AE13-4A7B-A32B-B74DE4C528D7}" destId="{67CAF0F0-11C7-41D4-B458-17DD1ACC65D7}" srcOrd="0" destOrd="0" presId="urn:microsoft.com/office/officeart/2005/8/layout/vList5"/>
    <dgm:cxn modelId="{AA13AB5C-83C5-45C1-864A-5D3145E95840}" srcId="{BE3B8733-AE13-4A7B-A32B-B74DE4C528D7}" destId="{F23A2E33-A7A9-4C0C-9E2D-FE9B09B27B0C}" srcOrd="0" destOrd="0" parTransId="{4B3C5EFE-833D-4256-8D22-790DD4FEA846}" sibTransId="{CE2E410B-761E-4681-BB83-5F0176147C43}"/>
    <dgm:cxn modelId="{EB67E285-84FC-45ED-9407-9E3D503AD076}" type="presOf" srcId="{F23A2E33-A7A9-4C0C-9E2D-FE9B09B27B0C}" destId="{4B75031E-EAE2-44AE-A204-79AAE3CD8BF2}" srcOrd="0" destOrd="0" presId="urn:microsoft.com/office/officeart/2005/8/layout/vList5"/>
    <dgm:cxn modelId="{926D403E-A820-4B35-8474-CECEDBE1FE93}" srcId="{F23A2E33-A7A9-4C0C-9E2D-FE9B09B27B0C}" destId="{C626F9B2-0463-47D3-BA52-A872326A8ACE}" srcOrd="1" destOrd="0" parTransId="{621246B2-0F72-43CC-BBBD-4861827B02CA}" sibTransId="{2AB5A212-C1F2-4108-95E6-F5AF0A6EE3EB}"/>
    <dgm:cxn modelId="{B54F13A2-A53E-4215-A6CF-70433DBD7F51}" type="presOf" srcId="{C626F9B2-0463-47D3-BA52-A872326A8ACE}" destId="{19C3370D-7B6A-4F3C-8C78-C38DF1D2FA31}" srcOrd="0" destOrd="1" presId="urn:microsoft.com/office/officeart/2005/8/layout/vList5"/>
    <dgm:cxn modelId="{123893C6-D1CF-4A3E-B249-8BE8CB6E8A60}" srcId="{F23A2E33-A7A9-4C0C-9E2D-FE9B09B27B0C}" destId="{EC43B956-372B-403A-9F15-9A51E24CCC08}" srcOrd="3" destOrd="0" parTransId="{2C35DA52-C47F-49FF-8381-3D2B976F0974}" sibTransId="{2CD06480-FAED-4496-AC35-B7DBAAF42A19}"/>
    <dgm:cxn modelId="{1DB134B3-7029-4867-8530-044DDD05C6A7}" srcId="{F23A2E33-A7A9-4C0C-9E2D-FE9B09B27B0C}" destId="{89F07F7C-8BA3-46F7-A28D-8A6C31313FEE}" srcOrd="2" destOrd="0" parTransId="{331569E9-EE59-498E-9B5F-54872AAB6155}" sibTransId="{D5429856-796F-4F08-B731-87F79A2D3D0C}"/>
    <dgm:cxn modelId="{F59C4A12-E265-405E-983A-096FA903CD45}" type="presOf" srcId="{89F07F7C-8BA3-46F7-A28D-8A6C31313FEE}" destId="{19C3370D-7B6A-4F3C-8C78-C38DF1D2FA31}" srcOrd="0" destOrd="2" presId="urn:microsoft.com/office/officeart/2005/8/layout/vList5"/>
    <dgm:cxn modelId="{46B7F6E8-B65C-483A-96AC-86247C4F21DA}" srcId="{F23A2E33-A7A9-4C0C-9E2D-FE9B09B27B0C}" destId="{8BB6A080-A949-4D1C-B030-163CE8EC11BC}" srcOrd="4" destOrd="0" parTransId="{B7D68DE0-F979-4024-9E91-C355F70A818F}" sibTransId="{94EAB1A3-E966-4F06-B413-5526B2035841}"/>
    <dgm:cxn modelId="{0E1CC3AE-2D6A-4ADC-A05E-A1F53E3A0DD4}" type="presOf" srcId="{8BB6A080-A949-4D1C-B030-163CE8EC11BC}" destId="{19C3370D-7B6A-4F3C-8C78-C38DF1D2FA31}" srcOrd="0" destOrd="4" presId="urn:microsoft.com/office/officeart/2005/8/layout/vList5"/>
    <dgm:cxn modelId="{55E748F3-FA94-42F6-BC2B-DF3F88D219F4}" type="presOf" srcId="{FA935D20-D649-4F38-A41B-69E90530D632}" destId="{19C3370D-7B6A-4F3C-8C78-C38DF1D2FA31}" srcOrd="0" destOrd="0" presId="urn:microsoft.com/office/officeart/2005/8/layout/vList5"/>
    <dgm:cxn modelId="{A75EBA2C-BB82-4441-8DBC-3173D93AE10A}" type="presParOf" srcId="{67CAF0F0-11C7-41D4-B458-17DD1ACC65D7}" destId="{91EF4C2B-0965-4D66-A48D-ECB7ACAE5C2D}" srcOrd="0" destOrd="0" presId="urn:microsoft.com/office/officeart/2005/8/layout/vList5"/>
    <dgm:cxn modelId="{1130B480-DC99-4442-A31E-1F0C1BC8B270}" type="presParOf" srcId="{91EF4C2B-0965-4D66-A48D-ECB7ACAE5C2D}" destId="{4B75031E-EAE2-44AE-A204-79AAE3CD8BF2}" srcOrd="0" destOrd="0" presId="urn:microsoft.com/office/officeart/2005/8/layout/vList5"/>
    <dgm:cxn modelId="{6822B3B2-87D2-4AA0-9854-3E276510E95B}" type="presParOf" srcId="{91EF4C2B-0965-4D66-A48D-ECB7ACAE5C2D}" destId="{19C3370D-7B6A-4F3C-8C78-C38DF1D2FA31}"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D4F1EAED-12F8-4C94-9DF2-1077F7D30BBE}" type="doc">
      <dgm:prSet loTypeId="urn:microsoft.com/office/officeart/2005/8/layout/pList2#1" loCatId="list" qsTypeId="urn:microsoft.com/office/officeart/2005/8/quickstyle/simple1#9" qsCatId="simple" csTypeId="urn:microsoft.com/office/officeart/2005/8/colors/colorful1#6" csCatId="colorful" phldr="1"/>
      <dgm:spPr/>
      <dgm:t>
        <a:bodyPr/>
        <a:lstStyle/>
        <a:p>
          <a:endParaRPr lang="it-IT"/>
        </a:p>
      </dgm:t>
    </dgm:pt>
    <dgm:pt modelId="{30F7430D-D893-41AA-AF7B-1C87C7A886D4}">
      <dgm:prSet/>
      <dgm:spPr/>
      <dgm:t>
        <a:bodyPr/>
        <a:lstStyle/>
        <a:p>
          <a:pPr rtl="0"/>
          <a:r>
            <a:rPr lang="it-IT" b="1" dirty="0" smtClean="0"/>
            <a:t>TIME LINE RICERCA ED ANALISI </a:t>
          </a:r>
          <a:endParaRPr lang="it-IT" b="1" dirty="0"/>
        </a:p>
      </dgm:t>
    </dgm:pt>
    <dgm:pt modelId="{DB29567A-9372-40EE-B198-CE2B06F793B1}" type="parTrans" cxnId="{0B649771-3FF5-44EE-9D0A-38BD13D96BFD}">
      <dgm:prSet/>
      <dgm:spPr/>
      <dgm:t>
        <a:bodyPr/>
        <a:lstStyle/>
        <a:p>
          <a:endParaRPr lang="it-IT"/>
        </a:p>
      </dgm:t>
    </dgm:pt>
    <dgm:pt modelId="{C4A87172-E5F1-4E8B-B227-4CB5521E3509}" type="sibTrans" cxnId="{0B649771-3FF5-44EE-9D0A-38BD13D96BFD}">
      <dgm:prSet/>
      <dgm:spPr/>
      <dgm:t>
        <a:bodyPr/>
        <a:lstStyle/>
        <a:p>
          <a:endParaRPr lang="it-IT"/>
        </a:p>
      </dgm:t>
    </dgm:pt>
    <dgm:pt modelId="{2463FFA6-33B0-462C-9A44-8450B0E48458}" type="pres">
      <dgm:prSet presAssocID="{D4F1EAED-12F8-4C94-9DF2-1077F7D30BBE}" presName="Name0" presStyleCnt="0">
        <dgm:presLayoutVars>
          <dgm:dir/>
          <dgm:resizeHandles val="exact"/>
        </dgm:presLayoutVars>
      </dgm:prSet>
      <dgm:spPr/>
      <dgm:t>
        <a:bodyPr/>
        <a:lstStyle/>
        <a:p>
          <a:endParaRPr lang="it-IT"/>
        </a:p>
      </dgm:t>
    </dgm:pt>
    <dgm:pt modelId="{4393C6C5-800F-4AD0-9287-91F0CE3F8018}" type="pres">
      <dgm:prSet presAssocID="{D4F1EAED-12F8-4C94-9DF2-1077F7D30BBE}" presName="bkgdShp" presStyleLbl="alignAccFollowNode1" presStyleIdx="0" presStyleCnt="1"/>
      <dgm:spPr/>
    </dgm:pt>
    <dgm:pt modelId="{74C4F42C-359C-44EB-A001-40CADA2F449F}" type="pres">
      <dgm:prSet presAssocID="{D4F1EAED-12F8-4C94-9DF2-1077F7D30BBE}" presName="linComp" presStyleCnt="0"/>
      <dgm:spPr/>
    </dgm:pt>
    <dgm:pt modelId="{3E5E4DD6-A7F8-43B6-BB96-A23D2A6941E2}" type="pres">
      <dgm:prSet presAssocID="{30F7430D-D893-41AA-AF7B-1C87C7A886D4}" presName="compNode" presStyleCnt="0"/>
      <dgm:spPr/>
    </dgm:pt>
    <dgm:pt modelId="{B67DCA96-203E-4FCF-BFE0-43C97B4D268A}" type="pres">
      <dgm:prSet presAssocID="{30F7430D-D893-41AA-AF7B-1C87C7A886D4}" presName="node" presStyleLbl="node1" presStyleIdx="0" presStyleCnt="1">
        <dgm:presLayoutVars>
          <dgm:bulletEnabled val="1"/>
        </dgm:presLayoutVars>
      </dgm:prSet>
      <dgm:spPr/>
      <dgm:t>
        <a:bodyPr/>
        <a:lstStyle/>
        <a:p>
          <a:endParaRPr lang="it-IT"/>
        </a:p>
      </dgm:t>
    </dgm:pt>
    <dgm:pt modelId="{5028E46A-8ABF-46C6-A83F-C574172843C0}" type="pres">
      <dgm:prSet presAssocID="{30F7430D-D893-41AA-AF7B-1C87C7A886D4}" presName="invisiNode" presStyleLbl="node1" presStyleIdx="0" presStyleCnt="1"/>
      <dgm:spPr/>
    </dgm:pt>
    <dgm:pt modelId="{ED743BFD-89FA-49AE-B8B8-5B451728DC2D}" type="pres">
      <dgm:prSet presAssocID="{30F7430D-D893-41AA-AF7B-1C87C7A886D4}" presName="imagNode" presStyleLbl="fgImgPlace1" presStyleIdx="0" presStyleCnt="1"/>
      <dgm:spPr/>
    </dgm:pt>
  </dgm:ptLst>
  <dgm:cxnLst>
    <dgm:cxn modelId="{542690D3-B8B8-4AE1-A809-15AC95414D21}" type="presOf" srcId="{D4F1EAED-12F8-4C94-9DF2-1077F7D30BBE}" destId="{2463FFA6-33B0-462C-9A44-8450B0E48458}" srcOrd="0" destOrd="0" presId="urn:microsoft.com/office/officeart/2005/8/layout/pList2#1"/>
    <dgm:cxn modelId="{49BBDC36-2C6B-4566-ABF3-259F19FD9452}" type="presOf" srcId="{30F7430D-D893-41AA-AF7B-1C87C7A886D4}" destId="{B67DCA96-203E-4FCF-BFE0-43C97B4D268A}" srcOrd="0" destOrd="0" presId="urn:microsoft.com/office/officeart/2005/8/layout/pList2#1"/>
    <dgm:cxn modelId="{0B649771-3FF5-44EE-9D0A-38BD13D96BFD}" srcId="{D4F1EAED-12F8-4C94-9DF2-1077F7D30BBE}" destId="{30F7430D-D893-41AA-AF7B-1C87C7A886D4}" srcOrd="0" destOrd="0" parTransId="{DB29567A-9372-40EE-B198-CE2B06F793B1}" sibTransId="{C4A87172-E5F1-4E8B-B227-4CB5521E3509}"/>
    <dgm:cxn modelId="{5B24E9A2-1573-4269-8592-80EB36BE9747}" type="presParOf" srcId="{2463FFA6-33B0-462C-9A44-8450B0E48458}" destId="{4393C6C5-800F-4AD0-9287-91F0CE3F8018}" srcOrd="0" destOrd="0" presId="urn:microsoft.com/office/officeart/2005/8/layout/pList2#1"/>
    <dgm:cxn modelId="{760B7C53-BFF4-4277-8A2C-3595D02A4142}" type="presParOf" srcId="{2463FFA6-33B0-462C-9A44-8450B0E48458}" destId="{74C4F42C-359C-44EB-A001-40CADA2F449F}" srcOrd="1" destOrd="0" presId="urn:microsoft.com/office/officeart/2005/8/layout/pList2#1"/>
    <dgm:cxn modelId="{E7A7C94F-63EC-4CDF-A4C9-E6F50AC9A15F}" type="presParOf" srcId="{74C4F42C-359C-44EB-A001-40CADA2F449F}" destId="{3E5E4DD6-A7F8-43B6-BB96-A23D2A6941E2}" srcOrd="0" destOrd="0" presId="urn:microsoft.com/office/officeart/2005/8/layout/pList2#1"/>
    <dgm:cxn modelId="{23E5E187-3619-4C9C-B58A-4D302E52A489}" type="presParOf" srcId="{3E5E4DD6-A7F8-43B6-BB96-A23D2A6941E2}" destId="{B67DCA96-203E-4FCF-BFE0-43C97B4D268A}" srcOrd="0" destOrd="0" presId="urn:microsoft.com/office/officeart/2005/8/layout/pList2#1"/>
    <dgm:cxn modelId="{6C5AA341-FC2A-4B8F-86DE-26AB305B4FC9}" type="presParOf" srcId="{3E5E4DD6-A7F8-43B6-BB96-A23D2A6941E2}" destId="{5028E46A-8ABF-46C6-A83F-C574172843C0}" srcOrd="1" destOrd="0" presId="urn:microsoft.com/office/officeart/2005/8/layout/pList2#1"/>
    <dgm:cxn modelId="{923BEC75-AF6B-462C-9755-BCADDE3B343A}" type="presParOf" srcId="{3E5E4DD6-A7F8-43B6-BB96-A23D2A6941E2}" destId="{ED743BFD-89FA-49AE-B8B8-5B451728DC2D}" srcOrd="2" destOrd="0" presId="urn:microsoft.com/office/officeart/2005/8/layout/pList2#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D4F1EAED-12F8-4C94-9DF2-1077F7D30BBE}" type="doc">
      <dgm:prSet loTypeId="urn:microsoft.com/office/officeart/2005/8/layout/pList2#2" loCatId="list" qsTypeId="urn:microsoft.com/office/officeart/2005/8/quickstyle/simple1#10" qsCatId="simple" csTypeId="urn:microsoft.com/office/officeart/2005/8/colors/colorful1#7" csCatId="colorful" phldr="1"/>
      <dgm:spPr/>
      <dgm:t>
        <a:bodyPr/>
        <a:lstStyle/>
        <a:p>
          <a:endParaRPr lang="it-IT"/>
        </a:p>
      </dgm:t>
    </dgm:pt>
    <dgm:pt modelId="{2463FFA6-33B0-462C-9A44-8450B0E48458}" type="pres">
      <dgm:prSet presAssocID="{D4F1EAED-12F8-4C94-9DF2-1077F7D30BBE}" presName="Name0" presStyleCnt="0">
        <dgm:presLayoutVars>
          <dgm:dir/>
          <dgm:resizeHandles val="exact"/>
        </dgm:presLayoutVars>
      </dgm:prSet>
      <dgm:spPr/>
      <dgm:t>
        <a:bodyPr/>
        <a:lstStyle/>
        <a:p>
          <a:endParaRPr lang="it-IT"/>
        </a:p>
      </dgm:t>
    </dgm:pt>
  </dgm:ptLst>
  <dgm:cxnLst>
    <dgm:cxn modelId="{EB071B57-8F5E-4848-A30E-EA7BE7DD2354}" type="presOf" srcId="{D4F1EAED-12F8-4C94-9DF2-1077F7D30BBE}" destId="{2463FFA6-33B0-462C-9A44-8450B0E48458}" srcOrd="0" destOrd="0" presId="urn:microsoft.com/office/officeart/2005/8/layout/pList2#2"/>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custT="1"/>
      <dgm:spPr/>
      <dgm:t>
        <a:bodyPr/>
        <a:lstStyle/>
        <a:p>
          <a:pPr rtl="0"/>
          <a:r>
            <a:rPr lang="it-IT" sz="2400" b="1" u="none" strike="noStrike" dirty="0" smtClean="0">
              <a:solidFill>
                <a:schemeClr val="accent1">
                  <a:lumMod val="75000"/>
                </a:schemeClr>
              </a:solidFill>
              <a:effectLst/>
            </a:rPr>
            <a:t>A che punto è la definizione della RIS 3 Sicilia: percorso svolto</a:t>
          </a:r>
          <a:endParaRPr lang="it-IT" sz="2400" b="1" dirty="0">
            <a:solidFill>
              <a:schemeClr val="accent1">
                <a:lumMod val="75000"/>
              </a:schemeClr>
            </a:solidFill>
          </a:endParaRPr>
        </a:p>
      </dgm:t>
    </dgm:pt>
    <dgm:pt modelId="{4AA17FDB-A052-4790-AE95-CF73ACE16E71}" type="parTrans" cxnId="{61C24A8C-0B83-4B1F-AD85-E5EDDAA1AC00}">
      <dgm:prSet/>
      <dgm:spPr/>
      <dgm:t>
        <a:bodyPr/>
        <a:lstStyle/>
        <a:p>
          <a:endParaRPr lang="it-IT" sz="2400"/>
        </a:p>
      </dgm:t>
    </dgm:pt>
    <dgm:pt modelId="{C167467F-04BA-4DE5-90F4-5BF53279866E}" type="sibTrans" cxnId="{61C24A8C-0B83-4B1F-AD85-E5EDDAA1AC00}">
      <dgm:prSet/>
      <dgm:spPr/>
      <dgm:t>
        <a:bodyPr/>
        <a:lstStyle/>
        <a:p>
          <a:endParaRPr lang="it-IT" sz="2400"/>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4BF12CC7-6489-461A-A311-9749FDC01D48}" type="presOf" srcId="{37F295A9-2A2E-416D-9AE6-C3404377959E}" destId="{58FB0A67-F67A-40BA-890E-A840ED83B605}" srcOrd="0" destOrd="0" presId="urn:microsoft.com/office/officeart/2008/layout/LinedList"/>
    <dgm:cxn modelId="{E6889A19-CE9C-4B58-90AB-8D293BFFDC64}" type="presOf" srcId="{2BF37BE0-F1C9-4327-8D6B-194C8F2CF94F}" destId="{7D920113-6D83-4974-923F-4CAA40CA2FDB}"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9DACE74B-131C-4592-9EF1-544A511DCA4B}" type="presParOf" srcId="{58FB0A67-F67A-40BA-890E-A840ED83B605}" destId="{AB26EC88-0333-42E8-B340-C2B4FE18384A}" srcOrd="0" destOrd="0" presId="urn:microsoft.com/office/officeart/2008/layout/LinedList"/>
    <dgm:cxn modelId="{BF42908B-BC4C-4878-861B-5130C679AE98}" type="presParOf" srcId="{58FB0A67-F67A-40BA-890E-A840ED83B605}" destId="{45792684-4DE0-4EDD-B49A-A40AB3BD4B9E}" srcOrd="1" destOrd="0" presId="urn:microsoft.com/office/officeart/2008/layout/LinedList"/>
    <dgm:cxn modelId="{A9C6ADAE-BC89-4813-A0B3-7943F464BFD6}" type="presParOf" srcId="{45792684-4DE0-4EDD-B49A-A40AB3BD4B9E}" destId="{7D920113-6D83-4974-923F-4CAA40CA2FDB}" srcOrd="0" destOrd="0" presId="urn:microsoft.com/office/officeart/2008/layout/LinedList"/>
    <dgm:cxn modelId="{23ED1376-A967-4988-823B-5DB991F176D0}"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3C448BFD-0757-4526-824B-930CC0898245}" type="doc">
      <dgm:prSet loTypeId="urn:microsoft.com/office/officeart/2005/8/layout/bProcess4" loCatId="process" qsTypeId="urn:microsoft.com/office/officeart/2005/8/quickstyle/simple2" qsCatId="simple" csTypeId="urn:microsoft.com/office/officeart/2005/8/colors/accent2_1" csCatId="accent2" phldr="1"/>
      <dgm:spPr/>
      <dgm:t>
        <a:bodyPr/>
        <a:lstStyle/>
        <a:p>
          <a:endParaRPr lang="it-IT"/>
        </a:p>
      </dgm:t>
    </dgm:pt>
    <dgm:pt modelId="{AC32D306-F587-4CB9-835C-CB1C93D72DE3}">
      <dgm:prSet custT="1"/>
      <dgm:spPr/>
      <dgm:t>
        <a:bodyPr/>
        <a:lstStyle/>
        <a:p>
          <a:pPr algn="l" rtl="0">
            <a:spcAft>
              <a:spcPts val="0"/>
            </a:spcAft>
          </a:pPr>
          <a:r>
            <a:rPr lang="it-IT" sz="1400" b="1" dirty="0" smtClean="0">
              <a:solidFill>
                <a:schemeClr val="accent1"/>
              </a:solidFill>
            </a:rPr>
            <a:t>1.</a:t>
          </a:r>
          <a:r>
            <a:rPr lang="it-IT" sz="1400" b="1" dirty="0" smtClean="0"/>
            <a:t> </a:t>
          </a:r>
          <a:r>
            <a:rPr lang="it-IT" sz="1400" b="1" dirty="0" smtClean="0">
              <a:solidFill>
                <a:srgbClr val="FF0000"/>
              </a:solidFill>
            </a:rPr>
            <a:t>Azione di feedback</a:t>
          </a:r>
        </a:p>
        <a:p>
          <a:pPr algn="l" rtl="0">
            <a:spcAft>
              <a:spcPts val="0"/>
            </a:spcAft>
          </a:pPr>
          <a:r>
            <a:rPr lang="it-IT" sz="1400" b="1" dirty="0" smtClean="0">
              <a:solidFill>
                <a:srgbClr val="FF0000"/>
              </a:solidFill>
            </a:rPr>
            <a:t>    e di restituzione</a:t>
          </a:r>
        </a:p>
        <a:p>
          <a:pPr algn="l" rtl="0">
            <a:spcAft>
              <a:spcPct val="35000"/>
            </a:spcAft>
          </a:pPr>
          <a:r>
            <a:rPr lang="it-IT" sz="1400" b="1" dirty="0" smtClean="0">
              <a:solidFill>
                <a:srgbClr val="FF0000"/>
              </a:solidFill>
            </a:rPr>
            <a:t>    (Laboratorio)</a:t>
          </a:r>
          <a:endParaRPr lang="it-IT" sz="1400" b="1" i="0" dirty="0">
            <a:solidFill>
              <a:srgbClr val="FF0000"/>
            </a:solidFill>
          </a:endParaRPr>
        </a:p>
      </dgm:t>
    </dgm:pt>
    <dgm:pt modelId="{B20F7F9E-EF1F-4DD8-ABB2-53771A1A10E3}" type="parTrans" cxnId="{71593942-5520-489A-BCAA-B9EF37EDB689}">
      <dgm:prSet/>
      <dgm:spPr/>
      <dgm:t>
        <a:bodyPr/>
        <a:lstStyle/>
        <a:p>
          <a:endParaRPr lang="it-IT"/>
        </a:p>
      </dgm:t>
    </dgm:pt>
    <dgm:pt modelId="{B16A180A-39BC-4A8E-AF29-C5D023E10D29}" type="sibTrans" cxnId="{71593942-5520-489A-BCAA-B9EF37EDB689}">
      <dgm:prSet/>
      <dgm:spPr/>
      <dgm:t>
        <a:bodyPr/>
        <a:lstStyle/>
        <a:p>
          <a:endParaRPr lang="it-IT"/>
        </a:p>
      </dgm:t>
    </dgm:pt>
    <dgm:pt modelId="{5178DB71-92E8-4E6E-90FB-FCABDCA37DAD}">
      <dgm:prSet custT="1"/>
      <dgm:spPr/>
      <dgm:t>
        <a:bodyPr/>
        <a:lstStyle/>
        <a:p>
          <a:pPr algn="l" rtl="0">
            <a:spcAft>
              <a:spcPts val="0"/>
            </a:spcAft>
          </a:pPr>
          <a:r>
            <a:rPr lang="it-IT" sz="1400" b="1" dirty="0" smtClean="0">
              <a:solidFill>
                <a:schemeClr val="accent1"/>
              </a:solidFill>
            </a:rPr>
            <a:t>2.Individuazione ambiti di</a:t>
          </a:r>
        </a:p>
        <a:p>
          <a:pPr algn="l" rtl="0">
            <a:spcAft>
              <a:spcPct val="35000"/>
            </a:spcAft>
          </a:pPr>
          <a:r>
            <a:rPr lang="it-IT" sz="1400" b="1" dirty="0" smtClean="0">
              <a:solidFill>
                <a:schemeClr val="accent1"/>
              </a:solidFill>
            </a:rPr>
            <a:t>   </a:t>
          </a:r>
          <a:r>
            <a:rPr lang="it-IT" sz="1400" b="1" dirty="0" err="1" smtClean="0">
              <a:solidFill>
                <a:schemeClr val="accent1"/>
              </a:solidFill>
            </a:rPr>
            <a:t>governance</a:t>
          </a:r>
          <a:r>
            <a:rPr lang="it-IT" sz="1400" b="1" dirty="0" smtClean="0">
              <a:solidFill>
                <a:schemeClr val="accent1"/>
              </a:solidFill>
            </a:rPr>
            <a:t> territoriale</a:t>
          </a:r>
          <a:endParaRPr lang="it-IT" sz="1400" b="1" dirty="0">
            <a:solidFill>
              <a:schemeClr val="accent1"/>
            </a:solidFill>
          </a:endParaRPr>
        </a:p>
      </dgm:t>
    </dgm:pt>
    <dgm:pt modelId="{A79728ED-4D5B-48E8-A395-AA1E8635C4CF}" type="parTrans" cxnId="{1383E022-21B6-4AB3-A55F-94557F5BD9CA}">
      <dgm:prSet/>
      <dgm:spPr/>
      <dgm:t>
        <a:bodyPr/>
        <a:lstStyle/>
        <a:p>
          <a:endParaRPr lang="it-IT"/>
        </a:p>
      </dgm:t>
    </dgm:pt>
    <dgm:pt modelId="{CA6F4989-C138-40A9-8AF5-A514917E80A6}" type="sibTrans" cxnId="{1383E022-21B6-4AB3-A55F-94557F5BD9CA}">
      <dgm:prSet/>
      <dgm:spPr/>
      <dgm:t>
        <a:bodyPr/>
        <a:lstStyle/>
        <a:p>
          <a:endParaRPr lang="it-IT"/>
        </a:p>
      </dgm:t>
    </dgm:pt>
    <dgm:pt modelId="{B8C2C0D2-FDDA-4FAB-A4E3-2B18589E9C35}">
      <dgm:prSet custT="1"/>
      <dgm:spPr/>
      <dgm:t>
        <a:bodyPr/>
        <a:lstStyle/>
        <a:p>
          <a:pPr algn="l" rtl="0">
            <a:spcAft>
              <a:spcPts val="0"/>
            </a:spcAft>
          </a:pPr>
          <a:r>
            <a:rPr lang="it-IT" sz="1400" b="1" dirty="0" smtClean="0">
              <a:solidFill>
                <a:schemeClr val="accent1"/>
              </a:solidFill>
            </a:rPr>
            <a:t>3.</a:t>
          </a:r>
          <a:r>
            <a:rPr lang="it-IT" sz="1400" b="1" dirty="0" smtClean="0"/>
            <a:t> </a:t>
          </a:r>
          <a:r>
            <a:rPr lang="it-IT" sz="1400" b="1" dirty="0" smtClean="0">
              <a:solidFill>
                <a:schemeClr val="accent1"/>
              </a:solidFill>
            </a:rPr>
            <a:t>Condivisione delle</a:t>
          </a:r>
        </a:p>
        <a:p>
          <a:pPr algn="l" rtl="0">
            <a:spcAft>
              <a:spcPts val="0"/>
            </a:spcAft>
          </a:pPr>
          <a:r>
            <a:rPr lang="it-IT" sz="1400" b="1" dirty="0" smtClean="0">
              <a:solidFill>
                <a:schemeClr val="accent1"/>
              </a:solidFill>
            </a:rPr>
            <a:t>    priorità</a:t>
          </a:r>
          <a:endParaRPr lang="it-IT" sz="1400" b="1" dirty="0">
            <a:solidFill>
              <a:schemeClr val="accent1"/>
            </a:solidFill>
          </a:endParaRPr>
        </a:p>
      </dgm:t>
    </dgm:pt>
    <dgm:pt modelId="{7902D07F-1689-4333-ADBC-08091F901300}" type="parTrans" cxnId="{6897825E-FE7D-4BF0-A9D6-7103F67B8522}">
      <dgm:prSet/>
      <dgm:spPr/>
      <dgm:t>
        <a:bodyPr/>
        <a:lstStyle/>
        <a:p>
          <a:endParaRPr lang="it-IT"/>
        </a:p>
      </dgm:t>
    </dgm:pt>
    <dgm:pt modelId="{211F9C3C-982B-4B97-B27A-1E02FBC4405E}" type="sibTrans" cxnId="{6897825E-FE7D-4BF0-A9D6-7103F67B8522}">
      <dgm:prSet/>
      <dgm:spPr/>
      <dgm:t>
        <a:bodyPr/>
        <a:lstStyle/>
        <a:p>
          <a:endParaRPr lang="it-IT"/>
        </a:p>
      </dgm:t>
    </dgm:pt>
    <dgm:pt modelId="{6C85DC61-3ACC-4522-B600-E5F022986ED7}">
      <dgm:prSet custT="1"/>
      <dgm:spPr/>
      <dgm:t>
        <a:bodyPr/>
        <a:lstStyle/>
        <a:p>
          <a:pPr algn="l" rtl="0">
            <a:spcAft>
              <a:spcPts val="0"/>
            </a:spcAft>
          </a:pPr>
          <a:r>
            <a:rPr lang="it-IT" sz="1400" b="1" dirty="0" smtClean="0">
              <a:solidFill>
                <a:schemeClr val="accent1"/>
              </a:solidFill>
            </a:rPr>
            <a:t>4.</a:t>
          </a:r>
          <a:r>
            <a:rPr lang="it-IT" sz="1400" b="1" dirty="0" smtClean="0"/>
            <a:t> </a:t>
          </a:r>
          <a:r>
            <a:rPr lang="it-IT" sz="1400" b="1" dirty="0" smtClean="0">
              <a:solidFill>
                <a:schemeClr val="accent1"/>
              </a:solidFill>
            </a:rPr>
            <a:t>Formalizzazione della </a:t>
          </a:r>
        </a:p>
        <a:p>
          <a:pPr algn="l" rtl="0">
            <a:spcAft>
              <a:spcPts val="0"/>
            </a:spcAft>
          </a:pPr>
          <a:r>
            <a:rPr lang="it-IT" sz="1400" b="1" dirty="0" smtClean="0">
              <a:solidFill>
                <a:schemeClr val="accent1"/>
              </a:solidFill>
            </a:rPr>
            <a:t>    condivisione (con appositi</a:t>
          </a:r>
        </a:p>
        <a:p>
          <a:pPr algn="l" rtl="0">
            <a:spcAft>
              <a:spcPts val="0"/>
            </a:spcAft>
          </a:pPr>
          <a:r>
            <a:rPr lang="it-IT" sz="1400" b="1" dirty="0" smtClean="0">
              <a:solidFill>
                <a:schemeClr val="accent1"/>
              </a:solidFill>
            </a:rPr>
            <a:t>    strumenti) </a:t>
          </a:r>
          <a:endParaRPr lang="it-IT" sz="1400" b="1" dirty="0">
            <a:solidFill>
              <a:schemeClr val="accent1"/>
            </a:solidFill>
          </a:endParaRPr>
        </a:p>
      </dgm:t>
    </dgm:pt>
    <dgm:pt modelId="{8EAC0061-B0A4-4CCF-A44B-3621E6D0A54B}" type="parTrans" cxnId="{B3B835FA-9690-408A-9BD4-9FCAD83F6D80}">
      <dgm:prSet/>
      <dgm:spPr/>
      <dgm:t>
        <a:bodyPr/>
        <a:lstStyle/>
        <a:p>
          <a:endParaRPr lang="it-IT"/>
        </a:p>
      </dgm:t>
    </dgm:pt>
    <dgm:pt modelId="{511CC809-372D-41E2-96F5-2F36611DD0DA}" type="sibTrans" cxnId="{B3B835FA-9690-408A-9BD4-9FCAD83F6D80}">
      <dgm:prSet/>
      <dgm:spPr/>
      <dgm:t>
        <a:bodyPr/>
        <a:lstStyle/>
        <a:p>
          <a:endParaRPr lang="it-IT"/>
        </a:p>
      </dgm:t>
    </dgm:pt>
    <dgm:pt modelId="{1C208E8C-D13C-468A-81DB-79922D5EDFCF}">
      <dgm:prSet custT="1"/>
      <dgm:spPr/>
      <dgm:t>
        <a:bodyPr/>
        <a:lstStyle/>
        <a:p>
          <a:pPr algn="l" rtl="0">
            <a:spcAft>
              <a:spcPts val="0"/>
            </a:spcAft>
          </a:pPr>
          <a:r>
            <a:rPr lang="it-IT" sz="1400" b="1" dirty="0" smtClean="0">
              <a:solidFill>
                <a:schemeClr val="accent1"/>
              </a:solidFill>
            </a:rPr>
            <a:t>5.</a:t>
          </a:r>
          <a:r>
            <a:rPr lang="it-IT" sz="1400" b="1" dirty="0" smtClean="0"/>
            <a:t> </a:t>
          </a:r>
          <a:r>
            <a:rPr lang="it-IT" sz="1400" b="1" dirty="0" smtClean="0">
              <a:solidFill>
                <a:schemeClr val="accent1"/>
              </a:solidFill>
            </a:rPr>
            <a:t>Avvio  strategia per la</a:t>
          </a:r>
        </a:p>
        <a:p>
          <a:pPr algn="l" rtl="0">
            <a:spcAft>
              <a:spcPct val="35000"/>
            </a:spcAft>
          </a:pPr>
          <a:r>
            <a:rPr lang="it-IT" sz="1400" b="1" dirty="0" smtClean="0">
              <a:solidFill>
                <a:schemeClr val="accent1"/>
              </a:solidFill>
            </a:rPr>
            <a:t>    comunicazione</a:t>
          </a:r>
        </a:p>
      </dgm:t>
    </dgm:pt>
    <dgm:pt modelId="{957039AB-CA1A-4AFD-859E-154F4DEBF527}" type="parTrans" cxnId="{DEF211D7-D1B9-491D-B1A6-293378679275}">
      <dgm:prSet/>
      <dgm:spPr/>
      <dgm:t>
        <a:bodyPr/>
        <a:lstStyle/>
        <a:p>
          <a:endParaRPr lang="it-IT"/>
        </a:p>
      </dgm:t>
    </dgm:pt>
    <dgm:pt modelId="{3C4F8C09-20F9-4991-92C5-6F766EBD406E}" type="sibTrans" cxnId="{DEF211D7-D1B9-491D-B1A6-293378679275}">
      <dgm:prSet/>
      <dgm:spPr/>
      <dgm:t>
        <a:bodyPr/>
        <a:lstStyle/>
        <a:p>
          <a:endParaRPr lang="it-IT"/>
        </a:p>
      </dgm:t>
    </dgm:pt>
    <dgm:pt modelId="{C968E210-BB32-431D-8824-0EC0C3AF4FDC}">
      <dgm:prSet custT="1"/>
      <dgm:spPr/>
      <dgm:t>
        <a:bodyPr/>
        <a:lstStyle/>
        <a:p>
          <a:pPr algn="l" rtl="0">
            <a:spcAft>
              <a:spcPts val="0"/>
            </a:spcAft>
          </a:pPr>
          <a:r>
            <a:rPr lang="it-IT" sz="1400" b="1" dirty="0" smtClean="0">
              <a:solidFill>
                <a:schemeClr val="accent1"/>
              </a:solidFill>
            </a:rPr>
            <a:t>6.</a:t>
          </a:r>
          <a:r>
            <a:rPr lang="it-IT" sz="1400" b="1" dirty="0" smtClean="0"/>
            <a:t> </a:t>
          </a:r>
          <a:r>
            <a:rPr lang="it-IT" sz="1400" b="1" dirty="0" smtClean="0">
              <a:solidFill>
                <a:schemeClr val="accent1"/>
              </a:solidFill>
            </a:rPr>
            <a:t>Costituzione di  una Unità</a:t>
          </a:r>
        </a:p>
        <a:p>
          <a:pPr algn="l" rtl="0">
            <a:spcAft>
              <a:spcPts val="0"/>
            </a:spcAft>
          </a:pPr>
          <a:r>
            <a:rPr lang="it-IT" sz="1400" b="1" dirty="0" smtClean="0">
              <a:solidFill>
                <a:schemeClr val="accent1"/>
              </a:solidFill>
            </a:rPr>
            <a:t>    tecnica con funzioni di </a:t>
          </a:r>
        </a:p>
        <a:p>
          <a:pPr algn="l" rtl="0">
            <a:spcAft>
              <a:spcPts val="0"/>
            </a:spcAft>
          </a:pPr>
          <a:r>
            <a:rPr lang="it-IT" sz="1400" b="1" dirty="0" smtClean="0">
              <a:solidFill>
                <a:schemeClr val="accent1"/>
              </a:solidFill>
            </a:rPr>
            <a:t>    indirizzo e coordinamento, </a:t>
          </a:r>
        </a:p>
        <a:p>
          <a:pPr algn="l" rtl="0">
            <a:spcAft>
              <a:spcPts val="0"/>
            </a:spcAft>
          </a:pPr>
          <a:r>
            <a:rPr lang="it-IT" sz="1400" b="1" dirty="0" smtClean="0">
              <a:solidFill>
                <a:schemeClr val="accent1"/>
              </a:solidFill>
            </a:rPr>
            <a:t>    monitoraggio e valutazione</a:t>
          </a:r>
        </a:p>
        <a:p>
          <a:pPr algn="l" rtl="0">
            <a:spcAft>
              <a:spcPts val="0"/>
            </a:spcAft>
          </a:pPr>
          <a:r>
            <a:rPr lang="it-IT" sz="1400" b="1" dirty="0" smtClean="0">
              <a:solidFill>
                <a:schemeClr val="accent1"/>
              </a:solidFill>
            </a:rPr>
            <a:t>    della Strategia</a:t>
          </a:r>
        </a:p>
      </dgm:t>
    </dgm:pt>
    <dgm:pt modelId="{5331B12E-8184-4B3D-B50D-FBBD08DC3627}" type="parTrans" cxnId="{1C90699B-20A0-4D26-AEF3-29A5C62F94DB}">
      <dgm:prSet/>
      <dgm:spPr/>
      <dgm:t>
        <a:bodyPr/>
        <a:lstStyle/>
        <a:p>
          <a:endParaRPr lang="it-IT"/>
        </a:p>
      </dgm:t>
    </dgm:pt>
    <dgm:pt modelId="{66A15AD4-475E-46F8-B414-E9103C1FB760}" type="sibTrans" cxnId="{1C90699B-20A0-4D26-AEF3-29A5C62F94DB}">
      <dgm:prSet/>
      <dgm:spPr/>
      <dgm:t>
        <a:bodyPr/>
        <a:lstStyle/>
        <a:p>
          <a:endParaRPr lang="it-IT"/>
        </a:p>
      </dgm:t>
    </dgm:pt>
    <dgm:pt modelId="{E061F05B-A45A-4F8C-AAE3-0AA46C078AD9}">
      <dgm:prSet custT="1"/>
      <dgm:spPr/>
      <dgm:t>
        <a:bodyPr/>
        <a:lstStyle/>
        <a:p>
          <a:pPr algn="l" rtl="0">
            <a:spcAft>
              <a:spcPts val="0"/>
            </a:spcAft>
          </a:pPr>
          <a:r>
            <a:rPr lang="it-IT" sz="1400" b="1" dirty="0" smtClean="0">
              <a:solidFill>
                <a:schemeClr val="accent1"/>
              </a:solidFill>
            </a:rPr>
            <a:t>7.Costituzione del Gruppo</a:t>
          </a:r>
        </a:p>
        <a:p>
          <a:pPr algn="l" rtl="0">
            <a:spcAft>
              <a:spcPct val="35000"/>
            </a:spcAft>
          </a:pPr>
          <a:r>
            <a:rPr lang="it-IT" sz="1400" b="1" dirty="0" smtClean="0">
              <a:solidFill>
                <a:schemeClr val="accent1"/>
              </a:solidFill>
            </a:rPr>
            <a:t>   di Pilotaggio</a:t>
          </a:r>
        </a:p>
      </dgm:t>
    </dgm:pt>
    <dgm:pt modelId="{16270F7E-6D1A-4187-89CC-154F4CC5750B}" type="parTrans" cxnId="{5B7572E8-4AE9-4633-8B55-68F16E43F504}">
      <dgm:prSet/>
      <dgm:spPr/>
      <dgm:t>
        <a:bodyPr/>
        <a:lstStyle/>
        <a:p>
          <a:endParaRPr lang="it-IT"/>
        </a:p>
      </dgm:t>
    </dgm:pt>
    <dgm:pt modelId="{89C05BD0-582D-4EFE-9EDB-BEC38AD8A19E}" type="sibTrans" cxnId="{5B7572E8-4AE9-4633-8B55-68F16E43F504}">
      <dgm:prSet/>
      <dgm:spPr/>
      <dgm:t>
        <a:bodyPr/>
        <a:lstStyle/>
        <a:p>
          <a:endParaRPr lang="it-IT"/>
        </a:p>
      </dgm:t>
    </dgm:pt>
    <dgm:pt modelId="{54DD2237-D68B-4BCA-B587-F38FAC87CED2}" type="pres">
      <dgm:prSet presAssocID="{3C448BFD-0757-4526-824B-930CC0898245}" presName="Name0" presStyleCnt="0">
        <dgm:presLayoutVars>
          <dgm:dir/>
          <dgm:resizeHandles/>
        </dgm:presLayoutVars>
      </dgm:prSet>
      <dgm:spPr/>
      <dgm:t>
        <a:bodyPr/>
        <a:lstStyle/>
        <a:p>
          <a:endParaRPr lang="it-IT"/>
        </a:p>
      </dgm:t>
    </dgm:pt>
    <dgm:pt modelId="{A783BA33-683E-4A38-B973-0062F99E6EF7}" type="pres">
      <dgm:prSet presAssocID="{AC32D306-F587-4CB9-835C-CB1C93D72DE3}" presName="compNode" presStyleCnt="0"/>
      <dgm:spPr/>
      <dgm:t>
        <a:bodyPr/>
        <a:lstStyle/>
        <a:p>
          <a:endParaRPr lang="it-IT"/>
        </a:p>
      </dgm:t>
    </dgm:pt>
    <dgm:pt modelId="{D7657D27-9A10-4917-95ED-E3951F569930}" type="pres">
      <dgm:prSet presAssocID="{AC32D306-F587-4CB9-835C-CB1C93D72DE3}" presName="dummyConnPt" presStyleCnt="0"/>
      <dgm:spPr/>
      <dgm:t>
        <a:bodyPr/>
        <a:lstStyle/>
        <a:p>
          <a:endParaRPr lang="it-IT"/>
        </a:p>
      </dgm:t>
    </dgm:pt>
    <dgm:pt modelId="{21061A77-D165-43D5-9ED8-B5EB9DDB2753}" type="pres">
      <dgm:prSet presAssocID="{AC32D306-F587-4CB9-835C-CB1C93D72DE3}" presName="node" presStyleLbl="node1" presStyleIdx="0" presStyleCnt="7" custScaleX="211759" custScaleY="238003">
        <dgm:presLayoutVars>
          <dgm:bulletEnabled val="1"/>
        </dgm:presLayoutVars>
      </dgm:prSet>
      <dgm:spPr/>
      <dgm:t>
        <a:bodyPr/>
        <a:lstStyle/>
        <a:p>
          <a:endParaRPr lang="it-IT"/>
        </a:p>
      </dgm:t>
    </dgm:pt>
    <dgm:pt modelId="{4CA28F2D-F759-4636-ACBD-8466D60D4E17}" type="pres">
      <dgm:prSet presAssocID="{B16A180A-39BC-4A8E-AF29-C5D023E10D29}" presName="sibTrans" presStyleLbl="bgSibTrans2D1" presStyleIdx="0" presStyleCnt="6"/>
      <dgm:spPr/>
      <dgm:t>
        <a:bodyPr/>
        <a:lstStyle/>
        <a:p>
          <a:endParaRPr lang="it-IT"/>
        </a:p>
      </dgm:t>
    </dgm:pt>
    <dgm:pt modelId="{965985CA-6772-4672-9E5D-DB2341024212}" type="pres">
      <dgm:prSet presAssocID="{5178DB71-92E8-4E6E-90FB-FCABDCA37DAD}" presName="compNode" presStyleCnt="0"/>
      <dgm:spPr/>
      <dgm:t>
        <a:bodyPr/>
        <a:lstStyle/>
        <a:p>
          <a:endParaRPr lang="it-IT"/>
        </a:p>
      </dgm:t>
    </dgm:pt>
    <dgm:pt modelId="{234B818D-D6BE-4086-8C93-6630BF61A9B9}" type="pres">
      <dgm:prSet presAssocID="{5178DB71-92E8-4E6E-90FB-FCABDCA37DAD}" presName="dummyConnPt" presStyleCnt="0"/>
      <dgm:spPr/>
      <dgm:t>
        <a:bodyPr/>
        <a:lstStyle/>
        <a:p>
          <a:endParaRPr lang="it-IT"/>
        </a:p>
      </dgm:t>
    </dgm:pt>
    <dgm:pt modelId="{CAD84E32-EB4D-4F6E-9190-AC855B3EA2A5}" type="pres">
      <dgm:prSet presAssocID="{5178DB71-92E8-4E6E-90FB-FCABDCA37DAD}" presName="node" presStyleLbl="node1" presStyleIdx="1" presStyleCnt="7" custScaleX="244567" custScaleY="149568">
        <dgm:presLayoutVars>
          <dgm:bulletEnabled val="1"/>
        </dgm:presLayoutVars>
      </dgm:prSet>
      <dgm:spPr/>
      <dgm:t>
        <a:bodyPr/>
        <a:lstStyle/>
        <a:p>
          <a:endParaRPr lang="it-IT"/>
        </a:p>
      </dgm:t>
    </dgm:pt>
    <dgm:pt modelId="{AFE62B99-C380-4A7D-A81E-0B836ACE2D97}" type="pres">
      <dgm:prSet presAssocID="{CA6F4989-C138-40A9-8AF5-A514917E80A6}" presName="sibTrans" presStyleLbl="bgSibTrans2D1" presStyleIdx="1" presStyleCnt="6"/>
      <dgm:spPr/>
      <dgm:t>
        <a:bodyPr/>
        <a:lstStyle/>
        <a:p>
          <a:endParaRPr lang="it-IT"/>
        </a:p>
      </dgm:t>
    </dgm:pt>
    <dgm:pt modelId="{5E258E68-2A87-4E6E-8E81-E1D05F73E9CB}" type="pres">
      <dgm:prSet presAssocID="{B8C2C0D2-FDDA-4FAB-A4E3-2B18589E9C35}" presName="compNode" presStyleCnt="0"/>
      <dgm:spPr/>
      <dgm:t>
        <a:bodyPr/>
        <a:lstStyle/>
        <a:p>
          <a:endParaRPr lang="it-IT"/>
        </a:p>
      </dgm:t>
    </dgm:pt>
    <dgm:pt modelId="{E081CF10-D4E2-404A-8260-B27F0747E159}" type="pres">
      <dgm:prSet presAssocID="{B8C2C0D2-FDDA-4FAB-A4E3-2B18589E9C35}" presName="dummyConnPt" presStyleCnt="0"/>
      <dgm:spPr/>
      <dgm:t>
        <a:bodyPr/>
        <a:lstStyle/>
        <a:p>
          <a:endParaRPr lang="it-IT"/>
        </a:p>
      </dgm:t>
    </dgm:pt>
    <dgm:pt modelId="{D4C33AB0-25CA-4969-A8C5-FD5F197A3E20}" type="pres">
      <dgm:prSet presAssocID="{B8C2C0D2-FDDA-4FAB-A4E3-2B18589E9C35}" presName="node" presStyleLbl="node1" presStyleIdx="2" presStyleCnt="7" custScaleX="254973" custScaleY="246385">
        <dgm:presLayoutVars>
          <dgm:bulletEnabled val="1"/>
        </dgm:presLayoutVars>
      </dgm:prSet>
      <dgm:spPr/>
      <dgm:t>
        <a:bodyPr/>
        <a:lstStyle/>
        <a:p>
          <a:endParaRPr lang="it-IT"/>
        </a:p>
      </dgm:t>
    </dgm:pt>
    <dgm:pt modelId="{2BCD11DB-F453-4B2F-B9D0-13AA9F8F954B}" type="pres">
      <dgm:prSet presAssocID="{211F9C3C-982B-4B97-B27A-1E02FBC4405E}" presName="sibTrans" presStyleLbl="bgSibTrans2D1" presStyleIdx="2" presStyleCnt="6"/>
      <dgm:spPr/>
      <dgm:t>
        <a:bodyPr/>
        <a:lstStyle/>
        <a:p>
          <a:endParaRPr lang="it-IT"/>
        </a:p>
      </dgm:t>
    </dgm:pt>
    <dgm:pt modelId="{F3465343-1F97-406F-8425-9E9BB5B849E4}" type="pres">
      <dgm:prSet presAssocID="{6C85DC61-3ACC-4522-B600-E5F022986ED7}" presName="compNode" presStyleCnt="0"/>
      <dgm:spPr/>
      <dgm:t>
        <a:bodyPr/>
        <a:lstStyle/>
        <a:p>
          <a:endParaRPr lang="it-IT"/>
        </a:p>
      </dgm:t>
    </dgm:pt>
    <dgm:pt modelId="{13055E65-0F93-4AAA-81AD-E9A6E4718EB0}" type="pres">
      <dgm:prSet presAssocID="{6C85DC61-3ACC-4522-B600-E5F022986ED7}" presName="dummyConnPt" presStyleCnt="0"/>
      <dgm:spPr/>
      <dgm:t>
        <a:bodyPr/>
        <a:lstStyle/>
        <a:p>
          <a:endParaRPr lang="it-IT"/>
        </a:p>
      </dgm:t>
    </dgm:pt>
    <dgm:pt modelId="{C5C7BDE0-612E-411D-8AB9-89A47964221E}" type="pres">
      <dgm:prSet presAssocID="{6C85DC61-3ACC-4522-B600-E5F022986ED7}" presName="node" presStyleLbl="node1" presStyleIdx="3" presStyleCnt="7" custScaleX="303919" custScaleY="207407">
        <dgm:presLayoutVars>
          <dgm:bulletEnabled val="1"/>
        </dgm:presLayoutVars>
      </dgm:prSet>
      <dgm:spPr/>
      <dgm:t>
        <a:bodyPr/>
        <a:lstStyle/>
        <a:p>
          <a:endParaRPr lang="it-IT"/>
        </a:p>
      </dgm:t>
    </dgm:pt>
    <dgm:pt modelId="{9D20F1A6-36D0-4E01-9A27-C5A6895D97F1}" type="pres">
      <dgm:prSet presAssocID="{511CC809-372D-41E2-96F5-2F36611DD0DA}" presName="sibTrans" presStyleLbl="bgSibTrans2D1" presStyleIdx="3" presStyleCnt="6"/>
      <dgm:spPr/>
      <dgm:t>
        <a:bodyPr/>
        <a:lstStyle/>
        <a:p>
          <a:endParaRPr lang="it-IT"/>
        </a:p>
      </dgm:t>
    </dgm:pt>
    <dgm:pt modelId="{DA27399E-6C27-476A-BC0A-F369CAEA63F0}" type="pres">
      <dgm:prSet presAssocID="{1C208E8C-D13C-468A-81DB-79922D5EDFCF}" presName="compNode" presStyleCnt="0"/>
      <dgm:spPr/>
      <dgm:t>
        <a:bodyPr/>
        <a:lstStyle/>
        <a:p>
          <a:endParaRPr lang="it-IT"/>
        </a:p>
      </dgm:t>
    </dgm:pt>
    <dgm:pt modelId="{DE5D780A-6EE0-4F41-9E5F-7E3AB7BF16CF}" type="pres">
      <dgm:prSet presAssocID="{1C208E8C-D13C-468A-81DB-79922D5EDFCF}" presName="dummyConnPt" presStyleCnt="0"/>
      <dgm:spPr/>
      <dgm:t>
        <a:bodyPr/>
        <a:lstStyle/>
        <a:p>
          <a:endParaRPr lang="it-IT"/>
        </a:p>
      </dgm:t>
    </dgm:pt>
    <dgm:pt modelId="{238DA9E9-3C12-47A7-AF1C-6EFA3B6BFACF}" type="pres">
      <dgm:prSet presAssocID="{1C208E8C-D13C-468A-81DB-79922D5EDFCF}" presName="node" presStyleLbl="node1" presStyleIdx="4" presStyleCnt="7" custScaleX="339830" custScaleY="178814">
        <dgm:presLayoutVars>
          <dgm:bulletEnabled val="1"/>
        </dgm:presLayoutVars>
      </dgm:prSet>
      <dgm:spPr/>
      <dgm:t>
        <a:bodyPr/>
        <a:lstStyle/>
        <a:p>
          <a:endParaRPr lang="it-IT"/>
        </a:p>
      </dgm:t>
    </dgm:pt>
    <dgm:pt modelId="{F38425E9-A09D-45A4-86DE-3B871D235AAB}" type="pres">
      <dgm:prSet presAssocID="{3C4F8C09-20F9-4991-92C5-6F766EBD406E}" presName="sibTrans" presStyleLbl="bgSibTrans2D1" presStyleIdx="4" presStyleCnt="6"/>
      <dgm:spPr/>
      <dgm:t>
        <a:bodyPr/>
        <a:lstStyle/>
        <a:p>
          <a:endParaRPr lang="it-IT"/>
        </a:p>
      </dgm:t>
    </dgm:pt>
    <dgm:pt modelId="{2C650BFA-FDD2-4ABB-A762-11AA5CF9FA72}" type="pres">
      <dgm:prSet presAssocID="{C968E210-BB32-431D-8824-0EC0C3AF4FDC}" presName="compNode" presStyleCnt="0"/>
      <dgm:spPr/>
      <dgm:t>
        <a:bodyPr/>
        <a:lstStyle/>
        <a:p>
          <a:endParaRPr lang="it-IT"/>
        </a:p>
      </dgm:t>
    </dgm:pt>
    <dgm:pt modelId="{C3081BD4-99CD-483A-AB88-BE97BB6E43C7}" type="pres">
      <dgm:prSet presAssocID="{C968E210-BB32-431D-8824-0EC0C3AF4FDC}" presName="dummyConnPt" presStyleCnt="0"/>
      <dgm:spPr/>
      <dgm:t>
        <a:bodyPr/>
        <a:lstStyle/>
        <a:p>
          <a:endParaRPr lang="it-IT"/>
        </a:p>
      </dgm:t>
    </dgm:pt>
    <dgm:pt modelId="{F7A22B34-E67D-452E-B7A3-670E43080D52}" type="pres">
      <dgm:prSet presAssocID="{C968E210-BB32-431D-8824-0EC0C3AF4FDC}" presName="node" presStyleLbl="node1" presStyleIdx="5" presStyleCnt="7" custScaleX="305646" custScaleY="254494">
        <dgm:presLayoutVars>
          <dgm:bulletEnabled val="1"/>
        </dgm:presLayoutVars>
      </dgm:prSet>
      <dgm:spPr/>
      <dgm:t>
        <a:bodyPr/>
        <a:lstStyle/>
        <a:p>
          <a:endParaRPr lang="it-IT"/>
        </a:p>
      </dgm:t>
    </dgm:pt>
    <dgm:pt modelId="{A2DC82F0-E497-49EB-AA87-BC9FF86E52AE}" type="pres">
      <dgm:prSet presAssocID="{66A15AD4-475E-46F8-B414-E9103C1FB760}" presName="sibTrans" presStyleLbl="bgSibTrans2D1" presStyleIdx="5" presStyleCnt="6"/>
      <dgm:spPr/>
      <dgm:t>
        <a:bodyPr/>
        <a:lstStyle/>
        <a:p>
          <a:endParaRPr lang="it-IT"/>
        </a:p>
      </dgm:t>
    </dgm:pt>
    <dgm:pt modelId="{3730F0D5-A128-4FC6-AD9C-3FA4B4A5738B}" type="pres">
      <dgm:prSet presAssocID="{E061F05B-A45A-4F8C-AAE3-0AA46C078AD9}" presName="compNode" presStyleCnt="0"/>
      <dgm:spPr/>
      <dgm:t>
        <a:bodyPr/>
        <a:lstStyle/>
        <a:p>
          <a:endParaRPr lang="it-IT"/>
        </a:p>
      </dgm:t>
    </dgm:pt>
    <dgm:pt modelId="{656FECEE-8AC6-4F4F-8470-98E16552EB61}" type="pres">
      <dgm:prSet presAssocID="{E061F05B-A45A-4F8C-AAE3-0AA46C078AD9}" presName="dummyConnPt" presStyleCnt="0"/>
      <dgm:spPr/>
      <dgm:t>
        <a:bodyPr/>
        <a:lstStyle/>
        <a:p>
          <a:endParaRPr lang="it-IT"/>
        </a:p>
      </dgm:t>
    </dgm:pt>
    <dgm:pt modelId="{6C2FB6B5-23EA-4C6B-B472-9E5490D7D680}" type="pres">
      <dgm:prSet presAssocID="{E061F05B-A45A-4F8C-AAE3-0AA46C078AD9}" presName="node" presStyleLbl="node1" presStyleIdx="6" presStyleCnt="7" custScaleX="266696" custScaleY="289603">
        <dgm:presLayoutVars>
          <dgm:bulletEnabled val="1"/>
        </dgm:presLayoutVars>
      </dgm:prSet>
      <dgm:spPr/>
      <dgm:t>
        <a:bodyPr/>
        <a:lstStyle/>
        <a:p>
          <a:endParaRPr lang="it-IT"/>
        </a:p>
      </dgm:t>
    </dgm:pt>
  </dgm:ptLst>
  <dgm:cxnLst>
    <dgm:cxn modelId="{935589F0-E1B6-40E4-86C1-23E0EC9FB1E7}" type="presOf" srcId="{3C448BFD-0757-4526-824B-930CC0898245}" destId="{54DD2237-D68B-4BCA-B587-F38FAC87CED2}" srcOrd="0" destOrd="0" presId="urn:microsoft.com/office/officeart/2005/8/layout/bProcess4"/>
    <dgm:cxn modelId="{5EBFD09D-10CE-4567-90A1-73B8AFFC6170}" type="presOf" srcId="{AC32D306-F587-4CB9-835C-CB1C93D72DE3}" destId="{21061A77-D165-43D5-9ED8-B5EB9DDB2753}" srcOrd="0" destOrd="0" presId="urn:microsoft.com/office/officeart/2005/8/layout/bProcess4"/>
    <dgm:cxn modelId="{032717DB-7D7A-4136-9051-7304D5D92417}" type="presOf" srcId="{B8C2C0D2-FDDA-4FAB-A4E3-2B18589E9C35}" destId="{D4C33AB0-25CA-4969-A8C5-FD5F197A3E20}" srcOrd="0" destOrd="0" presId="urn:microsoft.com/office/officeart/2005/8/layout/bProcess4"/>
    <dgm:cxn modelId="{1383E022-21B6-4AB3-A55F-94557F5BD9CA}" srcId="{3C448BFD-0757-4526-824B-930CC0898245}" destId="{5178DB71-92E8-4E6E-90FB-FCABDCA37DAD}" srcOrd="1" destOrd="0" parTransId="{A79728ED-4D5B-48E8-A395-AA1E8635C4CF}" sibTransId="{CA6F4989-C138-40A9-8AF5-A514917E80A6}"/>
    <dgm:cxn modelId="{EBF17442-FE92-454D-944C-72C274512F23}" type="presOf" srcId="{CA6F4989-C138-40A9-8AF5-A514917E80A6}" destId="{AFE62B99-C380-4A7D-A81E-0B836ACE2D97}" srcOrd="0" destOrd="0" presId="urn:microsoft.com/office/officeart/2005/8/layout/bProcess4"/>
    <dgm:cxn modelId="{6897825E-FE7D-4BF0-A9D6-7103F67B8522}" srcId="{3C448BFD-0757-4526-824B-930CC0898245}" destId="{B8C2C0D2-FDDA-4FAB-A4E3-2B18589E9C35}" srcOrd="2" destOrd="0" parTransId="{7902D07F-1689-4333-ADBC-08091F901300}" sibTransId="{211F9C3C-982B-4B97-B27A-1E02FBC4405E}"/>
    <dgm:cxn modelId="{A5A63AB0-6471-4AB3-8FBE-952E7AE4D214}" type="presOf" srcId="{6C85DC61-3ACC-4522-B600-E5F022986ED7}" destId="{C5C7BDE0-612E-411D-8AB9-89A47964221E}" srcOrd="0" destOrd="0" presId="urn:microsoft.com/office/officeart/2005/8/layout/bProcess4"/>
    <dgm:cxn modelId="{77D55EEA-BC3C-468B-A5B4-FE79EB98E908}" type="presOf" srcId="{B16A180A-39BC-4A8E-AF29-C5D023E10D29}" destId="{4CA28F2D-F759-4636-ACBD-8466D60D4E17}" srcOrd="0" destOrd="0" presId="urn:microsoft.com/office/officeart/2005/8/layout/bProcess4"/>
    <dgm:cxn modelId="{71593942-5520-489A-BCAA-B9EF37EDB689}" srcId="{3C448BFD-0757-4526-824B-930CC0898245}" destId="{AC32D306-F587-4CB9-835C-CB1C93D72DE3}" srcOrd="0" destOrd="0" parTransId="{B20F7F9E-EF1F-4DD8-ABB2-53771A1A10E3}" sibTransId="{B16A180A-39BC-4A8E-AF29-C5D023E10D29}"/>
    <dgm:cxn modelId="{59911281-11B6-455F-8D97-AEBB1699ED78}" type="presOf" srcId="{E061F05B-A45A-4F8C-AAE3-0AA46C078AD9}" destId="{6C2FB6B5-23EA-4C6B-B472-9E5490D7D680}" srcOrd="0" destOrd="0" presId="urn:microsoft.com/office/officeart/2005/8/layout/bProcess4"/>
    <dgm:cxn modelId="{5B7572E8-4AE9-4633-8B55-68F16E43F504}" srcId="{3C448BFD-0757-4526-824B-930CC0898245}" destId="{E061F05B-A45A-4F8C-AAE3-0AA46C078AD9}" srcOrd="6" destOrd="0" parTransId="{16270F7E-6D1A-4187-89CC-154F4CC5750B}" sibTransId="{89C05BD0-582D-4EFE-9EDB-BEC38AD8A19E}"/>
    <dgm:cxn modelId="{3FD22E63-0D5E-4840-9025-4BD26866858B}" type="presOf" srcId="{3C4F8C09-20F9-4991-92C5-6F766EBD406E}" destId="{F38425E9-A09D-45A4-86DE-3B871D235AAB}" srcOrd="0" destOrd="0" presId="urn:microsoft.com/office/officeart/2005/8/layout/bProcess4"/>
    <dgm:cxn modelId="{B3B835FA-9690-408A-9BD4-9FCAD83F6D80}" srcId="{3C448BFD-0757-4526-824B-930CC0898245}" destId="{6C85DC61-3ACC-4522-B600-E5F022986ED7}" srcOrd="3" destOrd="0" parTransId="{8EAC0061-B0A4-4CCF-A44B-3621E6D0A54B}" sibTransId="{511CC809-372D-41E2-96F5-2F36611DD0DA}"/>
    <dgm:cxn modelId="{19EA96AF-459E-4599-9D86-3647C9CCB6D1}" type="presOf" srcId="{1C208E8C-D13C-468A-81DB-79922D5EDFCF}" destId="{238DA9E9-3C12-47A7-AF1C-6EFA3B6BFACF}" srcOrd="0" destOrd="0" presId="urn:microsoft.com/office/officeart/2005/8/layout/bProcess4"/>
    <dgm:cxn modelId="{1C90699B-20A0-4D26-AEF3-29A5C62F94DB}" srcId="{3C448BFD-0757-4526-824B-930CC0898245}" destId="{C968E210-BB32-431D-8824-0EC0C3AF4FDC}" srcOrd="5" destOrd="0" parTransId="{5331B12E-8184-4B3D-B50D-FBBD08DC3627}" sibTransId="{66A15AD4-475E-46F8-B414-E9103C1FB760}"/>
    <dgm:cxn modelId="{3D455D30-1B87-42F7-9599-69FDF704F818}" type="presOf" srcId="{211F9C3C-982B-4B97-B27A-1E02FBC4405E}" destId="{2BCD11DB-F453-4B2F-B9D0-13AA9F8F954B}" srcOrd="0" destOrd="0" presId="urn:microsoft.com/office/officeart/2005/8/layout/bProcess4"/>
    <dgm:cxn modelId="{3895BC85-7E41-4EE9-8A7E-A5F897CD0E9C}" type="presOf" srcId="{66A15AD4-475E-46F8-B414-E9103C1FB760}" destId="{A2DC82F0-E497-49EB-AA87-BC9FF86E52AE}" srcOrd="0" destOrd="0" presId="urn:microsoft.com/office/officeart/2005/8/layout/bProcess4"/>
    <dgm:cxn modelId="{0354B78B-F063-4545-81A9-D963E8F4011E}" type="presOf" srcId="{511CC809-372D-41E2-96F5-2F36611DD0DA}" destId="{9D20F1A6-36D0-4E01-9A27-C5A6895D97F1}" srcOrd="0" destOrd="0" presId="urn:microsoft.com/office/officeart/2005/8/layout/bProcess4"/>
    <dgm:cxn modelId="{CAB8C7FC-23C5-40DA-9CC8-F1CCDFE9EF73}" type="presOf" srcId="{C968E210-BB32-431D-8824-0EC0C3AF4FDC}" destId="{F7A22B34-E67D-452E-B7A3-670E43080D52}" srcOrd="0" destOrd="0" presId="urn:microsoft.com/office/officeart/2005/8/layout/bProcess4"/>
    <dgm:cxn modelId="{DEF211D7-D1B9-491D-B1A6-293378679275}" srcId="{3C448BFD-0757-4526-824B-930CC0898245}" destId="{1C208E8C-D13C-468A-81DB-79922D5EDFCF}" srcOrd="4" destOrd="0" parTransId="{957039AB-CA1A-4AFD-859E-154F4DEBF527}" sibTransId="{3C4F8C09-20F9-4991-92C5-6F766EBD406E}"/>
    <dgm:cxn modelId="{5DFF059D-CB05-4B29-B0EF-AAAEAB679CAE}" type="presOf" srcId="{5178DB71-92E8-4E6E-90FB-FCABDCA37DAD}" destId="{CAD84E32-EB4D-4F6E-9190-AC855B3EA2A5}" srcOrd="0" destOrd="0" presId="urn:microsoft.com/office/officeart/2005/8/layout/bProcess4"/>
    <dgm:cxn modelId="{09C333F0-48AB-4CD1-953D-82123230967A}" type="presParOf" srcId="{54DD2237-D68B-4BCA-B587-F38FAC87CED2}" destId="{A783BA33-683E-4A38-B973-0062F99E6EF7}" srcOrd="0" destOrd="0" presId="urn:microsoft.com/office/officeart/2005/8/layout/bProcess4"/>
    <dgm:cxn modelId="{C34599C1-87A5-49AA-A6AD-363268D2E3F0}" type="presParOf" srcId="{A783BA33-683E-4A38-B973-0062F99E6EF7}" destId="{D7657D27-9A10-4917-95ED-E3951F569930}" srcOrd="0" destOrd="0" presId="urn:microsoft.com/office/officeart/2005/8/layout/bProcess4"/>
    <dgm:cxn modelId="{007336CB-5FB8-4E1D-A05A-FBCB154DBC6F}" type="presParOf" srcId="{A783BA33-683E-4A38-B973-0062F99E6EF7}" destId="{21061A77-D165-43D5-9ED8-B5EB9DDB2753}" srcOrd="1" destOrd="0" presId="urn:microsoft.com/office/officeart/2005/8/layout/bProcess4"/>
    <dgm:cxn modelId="{BA673FF2-80FD-44B4-8677-EB9ACE463E20}" type="presParOf" srcId="{54DD2237-D68B-4BCA-B587-F38FAC87CED2}" destId="{4CA28F2D-F759-4636-ACBD-8466D60D4E17}" srcOrd="1" destOrd="0" presId="urn:microsoft.com/office/officeart/2005/8/layout/bProcess4"/>
    <dgm:cxn modelId="{2485A5E1-CDC6-42E9-9194-8B0B1F65474B}" type="presParOf" srcId="{54DD2237-D68B-4BCA-B587-F38FAC87CED2}" destId="{965985CA-6772-4672-9E5D-DB2341024212}" srcOrd="2" destOrd="0" presId="urn:microsoft.com/office/officeart/2005/8/layout/bProcess4"/>
    <dgm:cxn modelId="{4A49915A-4C29-4297-BF35-6235967CE773}" type="presParOf" srcId="{965985CA-6772-4672-9E5D-DB2341024212}" destId="{234B818D-D6BE-4086-8C93-6630BF61A9B9}" srcOrd="0" destOrd="0" presId="urn:microsoft.com/office/officeart/2005/8/layout/bProcess4"/>
    <dgm:cxn modelId="{82AEDFD8-552A-4D0C-A9B2-E43D97912288}" type="presParOf" srcId="{965985CA-6772-4672-9E5D-DB2341024212}" destId="{CAD84E32-EB4D-4F6E-9190-AC855B3EA2A5}" srcOrd="1" destOrd="0" presId="urn:microsoft.com/office/officeart/2005/8/layout/bProcess4"/>
    <dgm:cxn modelId="{0C194CC1-15BA-4C68-917C-6353C00CC960}" type="presParOf" srcId="{54DD2237-D68B-4BCA-B587-F38FAC87CED2}" destId="{AFE62B99-C380-4A7D-A81E-0B836ACE2D97}" srcOrd="3" destOrd="0" presId="urn:microsoft.com/office/officeart/2005/8/layout/bProcess4"/>
    <dgm:cxn modelId="{9EF29666-1603-41D3-AEEE-6B4382CAE0CF}" type="presParOf" srcId="{54DD2237-D68B-4BCA-B587-F38FAC87CED2}" destId="{5E258E68-2A87-4E6E-8E81-E1D05F73E9CB}" srcOrd="4" destOrd="0" presId="urn:microsoft.com/office/officeart/2005/8/layout/bProcess4"/>
    <dgm:cxn modelId="{A4D649E9-9FB0-48C0-AABC-6DA0ED77A507}" type="presParOf" srcId="{5E258E68-2A87-4E6E-8E81-E1D05F73E9CB}" destId="{E081CF10-D4E2-404A-8260-B27F0747E159}" srcOrd="0" destOrd="0" presId="urn:microsoft.com/office/officeart/2005/8/layout/bProcess4"/>
    <dgm:cxn modelId="{646F4C21-4C7E-4683-992B-50329353E95E}" type="presParOf" srcId="{5E258E68-2A87-4E6E-8E81-E1D05F73E9CB}" destId="{D4C33AB0-25CA-4969-A8C5-FD5F197A3E20}" srcOrd="1" destOrd="0" presId="urn:microsoft.com/office/officeart/2005/8/layout/bProcess4"/>
    <dgm:cxn modelId="{52096578-279C-4961-A579-4A779859D404}" type="presParOf" srcId="{54DD2237-D68B-4BCA-B587-F38FAC87CED2}" destId="{2BCD11DB-F453-4B2F-B9D0-13AA9F8F954B}" srcOrd="5" destOrd="0" presId="urn:microsoft.com/office/officeart/2005/8/layout/bProcess4"/>
    <dgm:cxn modelId="{D5DA791D-ED55-472E-B2F9-6195D2F1B4B4}" type="presParOf" srcId="{54DD2237-D68B-4BCA-B587-F38FAC87CED2}" destId="{F3465343-1F97-406F-8425-9E9BB5B849E4}" srcOrd="6" destOrd="0" presId="urn:microsoft.com/office/officeart/2005/8/layout/bProcess4"/>
    <dgm:cxn modelId="{BE4D8CDB-5ABC-4607-898D-F3BEEC1DE9F9}" type="presParOf" srcId="{F3465343-1F97-406F-8425-9E9BB5B849E4}" destId="{13055E65-0F93-4AAA-81AD-E9A6E4718EB0}" srcOrd="0" destOrd="0" presId="urn:microsoft.com/office/officeart/2005/8/layout/bProcess4"/>
    <dgm:cxn modelId="{2729C283-09D5-4618-8EC9-8A389BBC1EEC}" type="presParOf" srcId="{F3465343-1F97-406F-8425-9E9BB5B849E4}" destId="{C5C7BDE0-612E-411D-8AB9-89A47964221E}" srcOrd="1" destOrd="0" presId="urn:microsoft.com/office/officeart/2005/8/layout/bProcess4"/>
    <dgm:cxn modelId="{3A1E3858-EFBB-441B-A765-3A1E1A6C3E12}" type="presParOf" srcId="{54DD2237-D68B-4BCA-B587-F38FAC87CED2}" destId="{9D20F1A6-36D0-4E01-9A27-C5A6895D97F1}" srcOrd="7" destOrd="0" presId="urn:microsoft.com/office/officeart/2005/8/layout/bProcess4"/>
    <dgm:cxn modelId="{312DDC98-0D5C-46CE-BAF1-9343C7775522}" type="presParOf" srcId="{54DD2237-D68B-4BCA-B587-F38FAC87CED2}" destId="{DA27399E-6C27-476A-BC0A-F369CAEA63F0}" srcOrd="8" destOrd="0" presId="urn:microsoft.com/office/officeart/2005/8/layout/bProcess4"/>
    <dgm:cxn modelId="{ABBE3C86-35A4-437F-AE14-1AD82533443A}" type="presParOf" srcId="{DA27399E-6C27-476A-BC0A-F369CAEA63F0}" destId="{DE5D780A-6EE0-4F41-9E5F-7E3AB7BF16CF}" srcOrd="0" destOrd="0" presId="urn:microsoft.com/office/officeart/2005/8/layout/bProcess4"/>
    <dgm:cxn modelId="{4C462CDA-5839-4691-87AB-2C21458C590A}" type="presParOf" srcId="{DA27399E-6C27-476A-BC0A-F369CAEA63F0}" destId="{238DA9E9-3C12-47A7-AF1C-6EFA3B6BFACF}" srcOrd="1" destOrd="0" presId="urn:microsoft.com/office/officeart/2005/8/layout/bProcess4"/>
    <dgm:cxn modelId="{EB656E05-1C18-4C26-B9DA-86C4328976E8}" type="presParOf" srcId="{54DD2237-D68B-4BCA-B587-F38FAC87CED2}" destId="{F38425E9-A09D-45A4-86DE-3B871D235AAB}" srcOrd="9" destOrd="0" presId="urn:microsoft.com/office/officeart/2005/8/layout/bProcess4"/>
    <dgm:cxn modelId="{5C718EDA-80B7-4632-8089-2EBEAEF99D3E}" type="presParOf" srcId="{54DD2237-D68B-4BCA-B587-F38FAC87CED2}" destId="{2C650BFA-FDD2-4ABB-A762-11AA5CF9FA72}" srcOrd="10" destOrd="0" presId="urn:microsoft.com/office/officeart/2005/8/layout/bProcess4"/>
    <dgm:cxn modelId="{13C808CA-9F29-44B5-B7A3-22FEAEFB4F00}" type="presParOf" srcId="{2C650BFA-FDD2-4ABB-A762-11AA5CF9FA72}" destId="{C3081BD4-99CD-483A-AB88-BE97BB6E43C7}" srcOrd="0" destOrd="0" presId="urn:microsoft.com/office/officeart/2005/8/layout/bProcess4"/>
    <dgm:cxn modelId="{19EBF9FC-3F05-4C2A-8D38-DE15EE3FD4C2}" type="presParOf" srcId="{2C650BFA-FDD2-4ABB-A762-11AA5CF9FA72}" destId="{F7A22B34-E67D-452E-B7A3-670E43080D52}" srcOrd="1" destOrd="0" presId="urn:microsoft.com/office/officeart/2005/8/layout/bProcess4"/>
    <dgm:cxn modelId="{DE5AC08B-187E-4386-B415-B0A61904AFF8}" type="presParOf" srcId="{54DD2237-D68B-4BCA-B587-F38FAC87CED2}" destId="{A2DC82F0-E497-49EB-AA87-BC9FF86E52AE}" srcOrd="11" destOrd="0" presId="urn:microsoft.com/office/officeart/2005/8/layout/bProcess4"/>
    <dgm:cxn modelId="{4783D77B-F2E7-42A2-91F7-F9CA6EF9F6CD}" type="presParOf" srcId="{54DD2237-D68B-4BCA-B587-F38FAC87CED2}" destId="{3730F0D5-A128-4FC6-AD9C-3FA4B4A5738B}" srcOrd="12" destOrd="0" presId="urn:microsoft.com/office/officeart/2005/8/layout/bProcess4"/>
    <dgm:cxn modelId="{AA24180C-3411-4EA3-8166-7727A6971822}" type="presParOf" srcId="{3730F0D5-A128-4FC6-AD9C-3FA4B4A5738B}" destId="{656FECEE-8AC6-4F4F-8470-98E16552EB61}" srcOrd="0" destOrd="0" presId="urn:microsoft.com/office/officeart/2005/8/layout/bProcess4"/>
    <dgm:cxn modelId="{74CB460B-D3E6-49C7-9593-57D4B985879F}" type="presParOf" srcId="{3730F0D5-A128-4FC6-AD9C-3FA4B4A5738B}" destId="{6C2FB6B5-23EA-4C6B-B472-9E5490D7D680}" srcOrd="1" destOrd="0" presId="urn:microsoft.com/office/officeart/2005/8/layout/b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45A60A9E-F327-4D1B-A2A6-269D07F7FB51}" type="doc">
      <dgm:prSet loTypeId="urn:microsoft.com/office/officeart/2008/layout/LinedList" loCatId="list" qsTypeId="urn:microsoft.com/office/officeart/2005/8/quickstyle/simple2" qsCatId="simple" csTypeId="urn:microsoft.com/office/officeart/2005/8/colors/colorful1#4" csCatId="colorful" phldr="1"/>
      <dgm:spPr/>
      <dgm:t>
        <a:bodyPr/>
        <a:lstStyle/>
        <a:p>
          <a:endParaRPr lang="it-IT"/>
        </a:p>
      </dgm:t>
    </dgm:pt>
    <dgm:pt modelId="{860BC524-CB4E-449F-9E17-7331014936FF}">
      <dgm:prSet custT="1"/>
      <dgm:spPr/>
      <dgm:t>
        <a:bodyPr/>
        <a:lstStyle/>
        <a:p>
          <a:pPr algn="ctr" rtl="0"/>
          <a:endParaRPr lang="it-IT" sz="2000" b="1" dirty="0">
            <a:solidFill>
              <a:srgbClr val="6699FF"/>
            </a:solidFill>
            <a:effectLst/>
            <a:latin typeface="Calibri" panose="020F0502020204030204" pitchFamily="34" charset="0"/>
          </a:endParaRPr>
        </a:p>
      </dgm:t>
    </dgm:pt>
    <dgm:pt modelId="{B98F86BA-F3F4-4C34-B165-4B6B932634A0}" type="parTrans" cxnId="{212ADEFA-454E-41BA-8921-005ECD16AB2B}">
      <dgm:prSet/>
      <dgm:spPr/>
      <dgm:t>
        <a:bodyPr/>
        <a:lstStyle/>
        <a:p>
          <a:endParaRPr lang="it-IT"/>
        </a:p>
      </dgm:t>
    </dgm:pt>
    <dgm:pt modelId="{C507B813-22B7-43D7-8E81-8A689C2BA308}" type="sibTrans" cxnId="{212ADEFA-454E-41BA-8921-005ECD16AB2B}">
      <dgm:prSet/>
      <dgm:spPr/>
      <dgm:t>
        <a:bodyPr/>
        <a:lstStyle/>
        <a:p>
          <a:endParaRPr lang="it-IT"/>
        </a:p>
      </dgm:t>
    </dgm:pt>
    <dgm:pt modelId="{7AFBEA0D-DAB9-45D9-BB84-A5C85C2C81FD}" type="pres">
      <dgm:prSet presAssocID="{45A60A9E-F327-4D1B-A2A6-269D07F7FB51}" presName="vert0" presStyleCnt="0">
        <dgm:presLayoutVars>
          <dgm:dir/>
          <dgm:animOne val="branch"/>
          <dgm:animLvl val="lvl"/>
        </dgm:presLayoutVars>
      </dgm:prSet>
      <dgm:spPr/>
      <dgm:t>
        <a:bodyPr/>
        <a:lstStyle/>
        <a:p>
          <a:endParaRPr lang="it-IT"/>
        </a:p>
      </dgm:t>
    </dgm:pt>
    <dgm:pt modelId="{E237AE75-85E6-437A-8B56-910DD27A4ECE}" type="pres">
      <dgm:prSet presAssocID="{860BC524-CB4E-449F-9E17-7331014936FF}" presName="thickLine" presStyleLbl="alignNode1" presStyleIdx="0" presStyleCnt="1"/>
      <dgm:spPr/>
      <dgm:t>
        <a:bodyPr/>
        <a:lstStyle/>
        <a:p>
          <a:endParaRPr lang="it-IT"/>
        </a:p>
      </dgm:t>
    </dgm:pt>
    <dgm:pt modelId="{E5B5E04E-FCAE-4ABC-802A-9826F4A5AD51}" type="pres">
      <dgm:prSet presAssocID="{860BC524-CB4E-449F-9E17-7331014936FF}" presName="horz1" presStyleCnt="0"/>
      <dgm:spPr/>
      <dgm:t>
        <a:bodyPr/>
        <a:lstStyle/>
        <a:p>
          <a:endParaRPr lang="it-IT"/>
        </a:p>
      </dgm:t>
    </dgm:pt>
    <dgm:pt modelId="{8D8CE0C5-97D0-41BA-B185-D747D53A47F7}" type="pres">
      <dgm:prSet presAssocID="{860BC524-CB4E-449F-9E17-7331014936FF}" presName="tx1" presStyleLbl="revTx" presStyleIdx="0" presStyleCnt="1"/>
      <dgm:spPr/>
      <dgm:t>
        <a:bodyPr/>
        <a:lstStyle/>
        <a:p>
          <a:endParaRPr lang="it-IT"/>
        </a:p>
      </dgm:t>
    </dgm:pt>
    <dgm:pt modelId="{FBFC497C-9F20-4F14-9A7A-F7BDED199D3F}" type="pres">
      <dgm:prSet presAssocID="{860BC524-CB4E-449F-9E17-7331014936FF}" presName="vert1" presStyleCnt="0"/>
      <dgm:spPr/>
      <dgm:t>
        <a:bodyPr/>
        <a:lstStyle/>
        <a:p>
          <a:endParaRPr lang="it-IT"/>
        </a:p>
      </dgm:t>
    </dgm:pt>
  </dgm:ptLst>
  <dgm:cxnLst>
    <dgm:cxn modelId="{212ADEFA-454E-41BA-8921-005ECD16AB2B}" srcId="{45A60A9E-F327-4D1B-A2A6-269D07F7FB51}" destId="{860BC524-CB4E-449F-9E17-7331014936FF}" srcOrd="0" destOrd="0" parTransId="{B98F86BA-F3F4-4C34-B165-4B6B932634A0}" sibTransId="{C507B813-22B7-43D7-8E81-8A689C2BA308}"/>
    <dgm:cxn modelId="{E5D0EF5F-153B-4FCB-A833-F83DB65D2912}" type="presOf" srcId="{860BC524-CB4E-449F-9E17-7331014936FF}" destId="{8D8CE0C5-97D0-41BA-B185-D747D53A47F7}" srcOrd="0" destOrd="0" presId="urn:microsoft.com/office/officeart/2008/layout/LinedList"/>
    <dgm:cxn modelId="{3957DF79-6899-4F40-AF98-CC0CC197394D}" type="presOf" srcId="{45A60A9E-F327-4D1B-A2A6-269D07F7FB51}" destId="{7AFBEA0D-DAB9-45D9-BB84-A5C85C2C81FD}" srcOrd="0" destOrd="0" presId="urn:microsoft.com/office/officeart/2008/layout/LinedList"/>
    <dgm:cxn modelId="{E427E101-8D26-4221-B364-85D1A3373943}" type="presParOf" srcId="{7AFBEA0D-DAB9-45D9-BB84-A5C85C2C81FD}" destId="{E237AE75-85E6-437A-8B56-910DD27A4ECE}" srcOrd="0" destOrd="0" presId="urn:microsoft.com/office/officeart/2008/layout/LinedList"/>
    <dgm:cxn modelId="{EFFA33EF-8DFB-460B-9003-2C974AB26174}" type="presParOf" srcId="{7AFBEA0D-DAB9-45D9-BB84-A5C85C2C81FD}" destId="{E5B5E04E-FCAE-4ABC-802A-9826F4A5AD51}" srcOrd="1" destOrd="0" presId="urn:microsoft.com/office/officeart/2008/layout/LinedList"/>
    <dgm:cxn modelId="{5F7C4455-73A2-44DE-B5A0-28C54EFD684A}" type="presParOf" srcId="{E5B5E04E-FCAE-4ABC-802A-9826F4A5AD51}" destId="{8D8CE0C5-97D0-41BA-B185-D747D53A47F7}" srcOrd="0" destOrd="0" presId="urn:microsoft.com/office/officeart/2008/layout/LinedList"/>
    <dgm:cxn modelId="{D67A9E0C-7007-45F4-A218-C335629E6544}" type="presParOf" srcId="{E5B5E04E-FCAE-4ABC-802A-9826F4A5AD51}" destId="{FBFC497C-9F20-4F14-9A7A-F7BDED199D3F}" srcOrd="1"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42186144-FFE2-4B4C-AF12-1C1BBA0FC559}" type="doc">
      <dgm:prSet loTypeId="urn:microsoft.com/office/officeart/2005/8/layout/hList7#1" loCatId="list" qsTypeId="urn:microsoft.com/office/officeart/2005/8/quickstyle/simple1" qsCatId="simple" csTypeId="urn:microsoft.com/office/officeart/2005/8/colors/accent2_2" csCatId="accent2" phldr="1"/>
      <dgm:spPr/>
      <dgm:t>
        <a:bodyPr/>
        <a:lstStyle/>
        <a:p>
          <a:endParaRPr lang="it-IT"/>
        </a:p>
      </dgm:t>
    </dgm:pt>
    <dgm:pt modelId="{6CA20128-5E08-496E-A920-86907F555078}">
      <dgm:prSet custT="1"/>
      <dgm:spPr/>
      <dgm:t>
        <a:bodyPr/>
        <a:lstStyle/>
        <a:p>
          <a:pPr rtl="0"/>
          <a:endParaRPr lang="it-IT" sz="1400" b="1" dirty="0" smtClean="0">
            <a:solidFill>
              <a:srgbClr val="FFFF00"/>
            </a:solidFill>
            <a:effectLst>
              <a:outerShdw blurRad="38100" dist="38100" dir="2700000" algn="tl">
                <a:srgbClr val="000000">
                  <a:alpha val="43137"/>
                </a:srgbClr>
              </a:outerShdw>
            </a:effectLst>
          </a:endParaRPr>
        </a:p>
        <a:p>
          <a:pPr rtl="0"/>
          <a:r>
            <a:rPr lang="it-IT" sz="1400" b="1" dirty="0" smtClean="0">
              <a:solidFill>
                <a:srgbClr val="FFFF00"/>
              </a:solidFill>
              <a:effectLst>
                <a:outerShdw blurRad="38100" dist="38100" dir="2700000" algn="tl">
                  <a:srgbClr val="000000">
                    <a:alpha val="43137"/>
                  </a:srgbClr>
                </a:outerShdw>
              </a:effectLst>
            </a:rPr>
            <a:t>SCOPERTA E CONDIVISIONE DI UNA DISTINTIVA SPECIALIZZAZIONE REGIONALE</a:t>
          </a:r>
        </a:p>
        <a:p>
          <a:pPr rtl="0"/>
          <a:r>
            <a:rPr lang="it-IT" sz="1300" dirty="0" smtClean="0"/>
            <a:t>Lettura delle </a:t>
          </a:r>
          <a:r>
            <a:rPr lang="it-IT" sz="1300" b="1" dirty="0" smtClean="0">
              <a:effectLst>
                <a:outerShdw blurRad="38100" dist="38100" dir="2700000" algn="tl">
                  <a:srgbClr val="000000">
                    <a:alpha val="43137"/>
                  </a:srgbClr>
                </a:outerShdw>
              </a:effectLst>
            </a:rPr>
            <a:t>specifiche caratteristiche del territorio</a:t>
          </a:r>
          <a:r>
            <a:rPr lang="it-IT" sz="1300" dirty="0" smtClean="0"/>
            <a:t> e </a:t>
          </a:r>
          <a:r>
            <a:rPr lang="it-IT" sz="1300" b="1" dirty="0" smtClean="0">
              <a:effectLst>
                <a:outerShdw blurRad="38100" dist="38100" dir="2700000" algn="tl">
                  <a:srgbClr val="000000">
                    <a:alpha val="43137"/>
                  </a:srgbClr>
                </a:outerShdw>
              </a:effectLst>
            </a:rPr>
            <a:t>Processo di </a:t>
          </a:r>
          <a:r>
            <a:rPr lang="it-IT" sz="1300" b="1" i="1" dirty="0" smtClean="0">
              <a:effectLst>
                <a:outerShdw blurRad="38100" dist="38100" dir="2700000" algn="tl">
                  <a:srgbClr val="000000">
                    <a:alpha val="43137"/>
                  </a:srgbClr>
                </a:outerShdw>
              </a:effectLst>
            </a:rPr>
            <a:t>empowerment</a:t>
          </a:r>
          <a:r>
            <a:rPr lang="it-IT" sz="1300" b="1" dirty="0" smtClean="0">
              <a:effectLst>
                <a:outerShdw blurRad="38100" dist="38100" dir="2700000" algn="tl">
                  <a:srgbClr val="000000">
                    <a:alpha val="43137"/>
                  </a:srgbClr>
                </a:outerShdw>
              </a:effectLst>
            </a:rPr>
            <a:t> dei diversi attori regionali dell’innovazione. </a:t>
          </a:r>
          <a:endParaRPr lang="it-IT" sz="1300" dirty="0" smtClean="0"/>
        </a:p>
        <a:p>
          <a:pPr rtl="0"/>
          <a:r>
            <a:rPr lang="it-IT" sz="1300" b="1" dirty="0" smtClean="0">
              <a:solidFill>
                <a:srgbClr val="FFFF00"/>
              </a:solidFill>
              <a:effectLst>
                <a:outerShdw blurRad="38100" dist="38100" dir="2700000" algn="tl">
                  <a:srgbClr val="000000">
                    <a:alpha val="43137"/>
                  </a:srgbClr>
                </a:outerShdw>
              </a:effectLst>
            </a:rPr>
            <a:t>La RIS3 Sicilia intende l‘INNOVAZIONE come  un processo multidimensionale e altamente interattivo di collaborazione tra diversi attori</a:t>
          </a:r>
          <a:r>
            <a:rPr lang="it-IT" sz="1200" dirty="0" smtClean="0">
              <a:solidFill>
                <a:srgbClr val="FFFF00"/>
              </a:solidFill>
            </a:rPr>
            <a:t>.</a:t>
          </a:r>
          <a:endParaRPr lang="it-IT" sz="1200" dirty="0">
            <a:solidFill>
              <a:srgbClr val="FFFF00"/>
            </a:solidFill>
          </a:endParaRPr>
        </a:p>
      </dgm:t>
    </dgm:pt>
    <dgm:pt modelId="{7CBD2ED3-783F-4541-99BF-4BA1556DBE27}" type="parTrans" cxnId="{D5D9F402-F900-4A0C-9107-DD72A9CD00DE}">
      <dgm:prSet/>
      <dgm:spPr/>
      <dgm:t>
        <a:bodyPr/>
        <a:lstStyle/>
        <a:p>
          <a:endParaRPr lang="it-IT"/>
        </a:p>
      </dgm:t>
    </dgm:pt>
    <dgm:pt modelId="{1CF86E63-BA62-4814-9489-580DD8C545E3}" type="sibTrans" cxnId="{D5D9F402-F900-4A0C-9107-DD72A9CD00DE}">
      <dgm:prSet/>
      <dgm:spPr/>
      <dgm:t>
        <a:bodyPr/>
        <a:lstStyle/>
        <a:p>
          <a:endParaRPr lang="it-IT"/>
        </a:p>
      </dgm:t>
    </dgm:pt>
    <dgm:pt modelId="{D4902039-27C0-4D3A-A74A-9290BBD893AC}">
      <dgm:prSet custT="1"/>
      <dgm:spPr/>
      <dgm:t>
        <a:bodyPr/>
        <a:lstStyle/>
        <a:p>
          <a:pPr rtl="0"/>
          <a:endParaRPr lang="it-IT" sz="1400" b="1" dirty="0" smtClean="0">
            <a:effectLst>
              <a:outerShdw blurRad="38100" dist="38100" dir="2700000" algn="tl">
                <a:srgbClr val="000000">
                  <a:alpha val="43137"/>
                </a:srgbClr>
              </a:outerShdw>
            </a:effectLst>
          </a:endParaRPr>
        </a:p>
        <a:p>
          <a:pPr rtl="0"/>
          <a:endParaRPr lang="it-IT" sz="1400" b="1" dirty="0" smtClean="0">
            <a:effectLst>
              <a:outerShdw blurRad="38100" dist="38100" dir="2700000" algn="tl">
                <a:srgbClr val="000000">
                  <a:alpha val="43137"/>
                </a:srgbClr>
              </a:outerShdw>
            </a:effectLst>
          </a:endParaRPr>
        </a:p>
        <a:p>
          <a:pPr rtl="0"/>
          <a:r>
            <a:rPr lang="it-IT" sz="1400" b="1" dirty="0" smtClean="0">
              <a:solidFill>
                <a:srgbClr val="FFFF00"/>
              </a:solidFill>
              <a:effectLst>
                <a:outerShdw blurRad="38100" dist="38100" dir="2700000" algn="tl">
                  <a:srgbClr val="000000">
                    <a:alpha val="43137"/>
                  </a:srgbClr>
                </a:outerShdw>
              </a:effectLst>
            </a:rPr>
            <a:t>INDIVIDUAZIONE DELLE LEVE CHE MUOVONO LO SVILUPPO</a:t>
          </a:r>
        </a:p>
        <a:p>
          <a:pPr rtl="0"/>
          <a:r>
            <a:rPr lang="it-IT" sz="1300" b="1" dirty="0" smtClean="0">
              <a:effectLst>
                <a:outerShdw blurRad="38100" dist="38100" dir="2700000" algn="tl">
                  <a:srgbClr val="000000">
                    <a:alpha val="43137"/>
                  </a:srgbClr>
                </a:outerShdw>
              </a:effectLst>
            </a:rPr>
            <a:t>Ruolo chiave delle cosiddette tecnologie chiave abilitanti (Key Enabling Technologies – KETs). </a:t>
          </a:r>
        </a:p>
        <a:p>
          <a:pPr rtl="0"/>
          <a:r>
            <a:rPr lang="it-IT" sz="1300" b="1" dirty="0" smtClean="0">
              <a:effectLst>
                <a:outerShdw blurRad="38100" dist="38100" dir="2700000" algn="tl">
                  <a:srgbClr val="000000">
                    <a:alpha val="43137"/>
                  </a:srgbClr>
                </a:outerShdw>
              </a:effectLst>
            </a:rPr>
            <a:t>Superamento dell’approccio basato sul tradizionale sostegno ai settori produttivi e alla ricerca </a:t>
          </a:r>
        </a:p>
      </dgm:t>
    </dgm:pt>
    <dgm:pt modelId="{714AF09A-1DD3-4FDE-9976-CA8774F8EE4A}" type="parTrans" cxnId="{BC49537D-A416-4FF1-A6D7-B13EDBA13FDE}">
      <dgm:prSet/>
      <dgm:spPr/>
      <dgm:t>
        <a:bodyPr/>
        <a:lstStyle/>
        <a:p>
          <a:endParaRPr lang="it-IT"/>
        </a:p>
      </dgm:t>
    </dgm:pt>
    <dgm:pt modelId="{217B802C-3C62-41AD-B23D-E6E896B28174}" type="sibTrans" cxnId="{BC49537D-A416-4FF1-A6D7-B13EDBA13FDE}">
      <dgm:prSet/>
      <dgm:spPr/>
      <dgm:t>
        <a:bodyPr/>
        <a:lstStyle/>
        <a:p>
          <a:endParaRPr lang="it-IT"/>
        </a:p>
      </dgm:t>
    </dgm:pt>
    <dgm:pt modelId="{E9EB10EC-045A-4DD1-AFDE-A782BCB5EB67}" type="pres">
      <dgm:prSet presAssocID="{42186144-FFE2-4B4C-AF12-1C1BBA0FC559}" presName="Name0" presStyleCnt="0">
        <dgm:presLayoutVars>
          <dgm:dir/>
          <dgm:resizeHandles val="exact"/>
        </dgm:presLayoutVars>
      </dgm:prSet>
      <dgm:spPr/>
      <dgm:t>
        <a:bodyPr/>
        <a:lstStyle/>
        <a:p>
          <a:endParaRPr lang="it-IT"/>
        </a:p>
      </dgm:t>
    </dgm:pt>
    <dgm:pt modelId="{A10E4646-191B-46B4-8568-08679650E7AC}" type="pres">
      <dgm:prSet presAssocID="{42186144-FFE2-4B4C-AF12-1C1BBA0FC559}" presName="fgShape" presStyleLbl="fgShp" presStyleIdx="0" presStyleCnt="1" custScaleX="103557" custLinFactNeighborX="-1581" custLinFactNeighborY="41026"/>
      <dgm:spPr/>
      <dgm:t>
        <a:bodyPr/>
        <a:lstStyle/>
        <a:p>
          <a:endParaRPr lang="it-IT"/>
        </a:p>
      </dgm:t>
    </dgm:pt>
    <dgm:pt modelId="{DFC2DE49-C4F7-4402-A216-D281789B7AE7}" type="pres">
      <dgm:prSet presAssocID="{42186144-FFE2-4B4C-AF12-1C1BBA0FC559}" presName="linComp" presStyleCnt="0"/>
      <dgm:spPr/>
      <dgm:t>
        <a:bodyPr/>
        <a:lstStyle/>
        <a:p>
          <a:endParaRPr lang="it-IT"/>
        </a:p>
      </dgm:t>
    </dgm:pt>
    <dgm:pt modelId="{92876CD0-F994-48ED-B42D-962AEB407CB8}" type="pres">
      <dgm:prSet presAssocID="{6CA20128-5E08-496E-A920-86907F555078}" presName="compNode" presStyleCnt="0"/>
      <dgm:spPr/>
      <dgm:t>
        <a:bodyPr/>
        <a:lstStyle/>
        <a:p>
          <a:endParaRPr lang="it-IT"/>
        </a:p>
      </dgm:t>
    </dgm:pt>
    <dgm:pt modelId="{4893B85D-E7EC-43EB-AD43-BE75F7C562F8}" type="pres">
      <dgm:prSet presAssocID="{6CA20128-5E08-496E-A920-86907F555078}" presName="bkgdShape" presStyleLbl="node1" presStyleIdx="0" presStyleCnt="2"/>
      <dgm:spPr/>
      <dgm:t>
        <a:bodyPr/>
        <a:lstStyle/>
        <a:p>
          <a:endParaRPr lang="it-IT"/>
        </a:p>
      </dgm:t>
    </dgm:pt>
    <dgm:pt modelId="{E5DBC89C-9976-4F5E-AA0D-B2438C6DC041}" type="pres">
      <dgm:prSet presAssocID="{6CA20128-5E08-496E-A920-86907F555078}" presName="nodeTx" presStyleLbl="node1" presStyleIdx="0" presStyleCnt="2">
        <dgm:presLayoutVars>
          <dgm:bulletEnabled val="1"/>
        </dgm:presLayoutVars>
      </dgm:prSet>
      <dgm:spPr/>
      <dgm:t>
        <a:bodyPr/>
        <a:lstStyle/>
        <a:p>
          <a:endParaRPr lang="it-IT"/>
        </a:p>
      </dgm:t>
    </dgm:pt>
    <dgm:pt modelId="{3D06D6EC-9F90-42FE-B2C3-BCAA3343CE2A}" type="pres">
      <dgm:prSet presAssocID="{6CA20128-5E08-496E-A920-86907F555078}" presName="invisiNode" presStyleLbl="node1" presStyleIdx="0" presStyleCnt="2"/>
      <dgm:spPr/>
      <dgm:t>
        <a:bodyPr/>
        <a:lstStyle/>
        <a:p>
          <a:endParaRPr lang="it-IT"/>
        </a:p>
      </dgm:t>
    </dgm:pt>
    <dgm:pt modelId="{D45867DB-5E57-4321-B95F-EF177612117D}" type="pres">
      <dgm:prSet presAssocID="{6CA20128-5E08-496E-A920-86907F555078}" presName="imagNode" presStyleLbl="fgImgPlace1" presStyleIdx="0" presStyleCnt="2"/>
      <dgm:spPr>
        <a:blipFill>
          <a:blip xmlns:r="http://schemas.openxmlformats.org/officeDocument/2006/relationships" r:embed="rId1" cstate="print">
            <a:extLst>
              <a:ext uri="{BEBA8EAE-BF5A-486C-A8C5-ECC9F3942E4B}">
                <a14:imgProps xmlns:a14="http://schemas.microsoft.com/office/drawing/2010/main">
                  <a14:imgLayer r:embed="rId2">
                    <a14:imgEffect>
                      <a14:sharpenSoften amount="50000"/>
                    </a14:imgEffect>
                  </a14:imgLayer>
                </a14:imgProps>
              </a:ext>
              <a:ext uri="{28A0092B-C50C-407E-A947-70E740481C1C}">
                <a14:useLocalDpi xmlns:a14="http://schemas.microsoft.com/office/drawing/2010/main" val="0"/>
              </a:ext>
            </a:extLst>
          </a:blip>
          <a:srcRect/>
          <a:stretch>
            <a:fillRect l="-3000" r="-3000"/>
          </a:stretch>
        </a:blipFill>
      </dgm:spPr>
      <dgm:t>
        <a:bodyPr/>
        <a:lstStyle/>
        <a:p>
          <a:endParaRPr lang="it-IT"/>
        </a:p>
      </dgm:t>
    </dgm:pt>
    <dgm:pt modelId="{A4C0EED3-C0CF-4935-9B8F-10CA4F25283D}" type="pres">
      <dgm:prSet presAssocID="{1CF86E63-BA62-4814-9489-580DD8C545E3}" presName="sibTrans" presStyleLbl="sibTrans2D1" presStyleIdx="0" presStyleCnt="0"/>
      <dgm:spPr/>
      <dgm:t>
        <a:bodyPr/>
        <a:lstStyle/>
        <a:p>
          <a:endParaRPr lang="it-IT"/>
        </a:p>
      </dgm:t>
    </dgm:pt>
    <dgm:pt modelId="{6A5F5854-39DA-406F-B08D-D9D49CCAF460}" type="pres">
      <dgm:prSet presAssocID="{D4902039-27C0-4D3A-A74A-9290BBD893AC}" presName="compNode" presStyleCnt="0"/>
      <dgm:spPr/>
      <dgm:t>
        <a:bodyPr/>
        <a:lstStyle/>
        <a:p>
          <a:endParaRPr lang="it-IT"/>
        </a:p>
      </dgm:t>
    </dgm:pt>
    <dgm:pt modelId="{46D4FB9A-CA69-4FE6-AE01-D6BD5549E131}" type="pres">
      <dgm:prSet presAssocID="{D4902039-27C0-4D3A-A74A-9290BBD893AC}" presName="bkgdShape" presStyleLbl="node1" presStyleIdx="1" presStyleCnt="2" custLinFactNeighborX="1871"/>
      <dgm:spPr/>
      <dgm:t>
        <a:bodyPr/>
        <a:lstStyle/>
        <a:p>
          <a:endParaRPr lang="it-IT"/>
        </a:p>
      </dgm:t>
    </dgm:pt>
    <dgm:pt modelId="{8590A6B1-FBAE-48F8-9FBD-104522464602}" type="pres">
      <dgm:prSet presAssocID="{D4902039-27C0-4D3A-A74A-9290BBD893AC}" presName="nodeTx" presStyleLbl="node1" presStyleIdx="1" presStyleCnt="2">
        <dgm:presLayoutVars>
          <dgm:bulletEnabled val="1"/>
        </dgm:presLayoutVars>
      </dgm:prSet>
      <dgm:spPr/>
      <dgm:t>
        <a:bodyPr/>
        <a:lstStyle/>
        <a:p>
          <a:endParaRPr lang="it-IT"/>
        </a:p>
      </dgm:t>
    </dgm:pt>
    <dgm:pt modelId="{02BD0F62-1430-4251-9367-F1817D788338}" type="pres">
      <dgm:prSet presAssocID="{D4902039-27C0-4D3A-A74A-9290BBD893AC}" presName="invisiNode" presStyleLbl="node1" presStyleIdx="1" presStyleCnt="2"/>
      <dgm:spPr/>
      <dgm:t>
        <a:bodyPr/>
        <a:lstStyle/>
        <a:p>
          <a:endParaRPr lang="it-IT"/>
        </a:p>
      </dgm:t>
    </dgm:pt>
    <dgm:pt modelId="{0884A0BC-1141-4228-BC39-52DFE7694685}" type="pres">
      <dgm:prSet presAssocID="{D4902039-27C0-4D3A-A74A-9290BBD893AC}" presName="imagNode" presStyleLbl="fgImgPlace1" presStyleIdx="1" presStyleCnt="2" custLinFactNeighborX="-402" custLinFactNeighborY="-2059"/>
      <dgm:spPr>
        <a:blipFill>
          <a:blip xmlns:r="http://schemas.openxmlformats.org/officeDocument/2006/relationships" r:embed="rId3">
            <a:extLst>
              <a:ext uri="{28A0092B-C50C-407E-A947-70E740481C1C}">
                <a14:useLocalDpi xmlns:a14="http://schemas.microsoft.com/office/drawing/2010/main" val="0"/>
              </a:ext>
            </a:extLst>
          </a:blip>
          <a:srcRect/>
          <a:stretch>
            <a:fillRect l="-17000" r="-17000"/>
          </a:stretch>
        </a:blipFill>
      </dgm:spPr>
      <dgm:t>
        <a:bodyPr/>
        <a:lstStyle/>
        <a:p>
          <a:endParaRPr lang="it-IT"/>
        </a:p>
      </dgm:t>
    </dgm:pt>
  </dgm:ptLst>
  <dgm:cxnLst>
    <dgm:cxn modelId="{EF3D0B43-48B8-47F2-88A4-98BE6FFFFDB2}" type="presOf" srcId="{6CA20128-5E08-496E-A920-86907F555078}" destId="{E5DBC89C-9976-4F5E-AA0D-B2438C6DC041}" srcOrd="1" destOrd="0" presId="urn:microsoft.com/office/officeart/2005/8/layout/hList7#1"/>
    <dgm:cxn modelId="{D5D9F402-F900-4A0C-9107-DD72A9CD00DE}" srcId="{42186144-FFE2-4B4C-AF12-1C1BBA0FC559}" destId="{6CA20128-5E08-496E-A920-86907F555078}" srcOrd="0" destOrd="0" parTransId="{7CBD2ED3-783F-4541-99BF-4BA1556DBE27}" sibTransId="{1CF86E63-BA62-4814-9489-580DD8C545E3}"/>
    <dgm:cxn modelId="{2700421B-BF44-4CA1-B5D5-0F1E3B7B2EA8}" type="presOf" srcId="{1CF86E63-BA62-4814-9489-580DD8C545E3}" destId="{A4C0EED3-C0CF-4935-9B8F-10CA4F25283D}" srcOrd="0" destOrd="0" presId="urn:microsoft.com/office/officeart/2005/8/layout/hList7#1"/>
    <dgm:cxn modelId="{D788CE0F-3A3F-4350-9BC1-E5B90EE1D677}" type="presOf" srcId="{6CA20128-5E08-496E-A920-86907F555078}" destId="{4893B85D-E7EC-43EB-AD43-BE75F7C562F8}" srcOrd="0" destOrd="0" presId="urn:microsoft.com/office/officeart/2005/8/layout/hList7#1"/>
    <dgm:cxn modelId="{C1758548-7241-40F6-9A5F-023D448CC8A2}" type="presOf" srcId="{42186144-FFE2-4B4C-AF12-1C1BBA0FC559}" destId="{E9EB10EC-045A-4DD1-AFDE-A782BCB5EB67}" srcOrd="0" destOrd="0" presId="urn:microsoft.com/office/officeart/2005/8/layout/hList7#1"/>
    <dgm:cxn modelId="{5B4B159C-6FA7-4825-9531-DDD96662D1A1}" type="presOf" srcId="{D4902039-27C0-4D3A-A74A-9290BBD893AC}" destId="{46D4FB9A-CA69-4FE6-AE01-D6BD5549E131}" srcOrd="0" destOrd="0" presId="urn:microsoft.com/office/officeart/2005/8/layout/hList7#1"/>
    <dgm:cxn modelId="{15E6255A-8965-4EFC-8293-05D41FE87658}" type="presOf" srcId="{D4902039-27C0-4D3A-A74A-9290BBD893AC}" destId="{8590A6B1-FBAE-48F8-9FBD-104522464602}" srcOrd="1" destOrd="0" presId="urn:microsoft.com/office/officeart/2005/8/layout/hList7#1"/>
    <dgm:cxn modelId="{BC49537D-A416-4FF1-A6D7-B13EDBA13FDE}" srcId="{42186144-FFE2-4B4C-AF12-1C1BBA0FC559}" destId="{D4902039-27C0-4D3A-A74A-9290BBD893AC}" srcOrd="1" destOrd="0" parTransId="{714AF09A-1DD3-4FDE-9976-CA8774F8EE4A}" sibTransId="{217B802C-3C62-41AD-B23D-E6E896B28174}"/>
    <dgm:cxn modelId="{A2E9CED4-DBC6-4242-9EFA-1F32D5147BCA}" type="presParOf" srcId="{E9EB10EC-045A-4DD1-AFDE-A782BCB5EB67}" destId="{A10E4646-191B-46B4-8568-08679650E7AC}" srcOrd="0" destOrd="0" presId="urn:microsoft.com/office/officeart/2005/8/layout/hList7#1"/>
    <dgm:cxn modelId="{10E9095D-1A21-491B-97A9-DF11808B3E02}" type="presParOf" srcId="{E9EB10EC-045A-4DD1-AFDE-A782BCB5EB67}" destId="{DFC2DE49-C4F7-4402-A216-D281789B7AE7}" srcOrd="1" destOrd="0" presId="urn:microsoft.com/office/officeart/2005/8/layout/hList7#1"/>
    <dgm:cxn modelId="{8722A608-8A96-4F28-8039-F45C6B746AEE}" type="presParOf" srcId="{DFC2DE49-C4F7-4402-A216-D281789B7AE7}" destId="{92876CD0-F994-48ED-B42D-962AEB407CB8}" srcOrd="0" destOrd="0" presId="urn:microsoft.com/office/officeart/2005/8/layout/hList7#1"/>
    <dgm:cxn modelId="{1AE0B94E-B766-4758-9F69-9F25E50E9F97}" type="presParOf" srcId="{92876CD0-F994-48ED-B42D-962AEB407CB8}" destId="{4893B85D-E7EC-43EB-AD43-BE75F7C562F8}" srcOrd="0" destOrd="0" presId="urn:microsoft.com/office/officeart/2005/8/layout/hList7#1"/>
    <dgm:cxn modelId="{EA1F6E3E-DB0B-405B-AD7A-CD9DE8943F4B}" type="presParOf" srcId="{92876CD0-F994-48ED-B42D-962AEB407CB8}" destId="{E5DBC89C-9976-4F5E-AA0D-B2438C6DC041}" srcOrd="1" destOrd="0" presId="urn:microsoft.com/office/officeart/2005/8/layout/hList7#1"/>
    <dgm:cxn modelId="{65248453-9AF6-492B-AE2F-CAD639B6EC8C}" type="presParOf" srcId="{92876CD0-F994-48ED-B42D-962AEB407CB8}" destId="{3D06D6EC-9F90-42FE-B2C3-BCAA3343CE2A}" srcOrd="2" destOrd="0" presId="urn:microsoft.com/office/officeart/2005/8/layout/hList7#1"/>
    <dgm:cxn modelId="{3018F9CB-358F-491C-9266-A7E5C9AA7E96}" type="presParOf" srcId="{92876CD0-F994-48ED-B42D-962AEB407CB8}" destId="{D45867DB-5E57-4321-B95F-EF177612117D}" srcOrd="3" destOrd="0" presId="urn:microsoft.com/office/officeart/2005/8/layout/hList7#1"/>
    <dgm:cxn modelId="{9975CB97-5E31-40CA-BA7B-59AAD59ACBC4}" type="presParOf" srcId="{DFC2DE49-C4F7-4402-A216-D281789B7AE7}" destId="{A4C0EED3-C0CF-4935-9B8F-10CA4F25283D}" srcOrd="1" destOrd="0" presId="urn:microsoft.com/office/officeart/2005/8/layout/hList7#1"/>
    <dgm:cxn modelId="{4F25CC67-4B54-4DAE-AC69-86A863EE951A}" type="presParOf" srcId="{DFC2DE49-C4F7-4402-A216-D281789B7AE7}" destId="{6A5F5854-39DA-406F-B08D-D9D49CCAF460}" srcOrd="2" destOrd="0" presId="urn:microsoft.com/office/officeart/2005/8/layout/hList7#1"/>
    <dgm:cxn modelId="{87A5B2AD-CB52-4E59-B73F-8B811A57CF7E}" type="presParOf" srcId="{6A5F5854-39DA-406F-B08D-D9D49CCAF460}" destId="{46D4FB9A-CA69-4FE6-AE01-D6BD5549E131}" srcOrd="0" destOrd="0" presId="urn:microsoft.com/office/officeart/2005/8/layout/hList7#1"/>
    <dgm:cxn modelId="{E1F886D0-11BC-46A1-80F6-A8BF2E141B82}" type="presParOf" srcId="{6A5F5854-39DA-406F-B08D-D9D49CCAF460}" destId="{8590A6B1-FBAE-48F8-9FBD-104522464602}" srcOrd="1" destOrd="0" presId="urn:microsoft.com/office/officeart/2005/8/layout/hList7#1"/>
    <dgm:cxn modelId="{41BCFF0D-1499-4BB5-B017-B85ACC79214D}" type="presParOf" srcId="{6A5F5854-39DA-406F-B08D-D9D49CCAF460}" destId="{02BD0F62-1430-4251-9367-F1817D788338}" srcOrd="2" destOrd="0" presId="urn:microsoft.com/office/officeart/2005/8/layout/hList7#1"/>
    <dgm:cxn modelId="{ADA4A719-8211-49DA-9BAA-D13EB1346A5C}" type="presParOf" srcId="{6A5F5854-39DA-406F-B08D-D9D49CCAF460}" destId="{0884A0BC-1141-4228-BC39-52DFE7694685}" srcOrd="3" destOrd="0" presId="urn:microsoft.com/office/officeart/2005/8/layout/hList7#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1133BD60-A0CD-4E8D-AC30-5C3DF36BF3E5}" type="doc">
      <dgm:prSet loTypeId="urn:microsoft.com/office/officeart/2005/8/layout/vList4#1" loCatId="list" qsTypeId="urn:microsoft.com/office/officeart/2005/8/quickstyle/simple1" qsCatId="simple" csTypeId="urn:microsoft.com/office/officeart/2005/8/colors/accent1_2" csCatId="accent1" phldr="1"/>
      <dgm:spPr/>
      <dgm:t>
        <a:bodyPr/>
        <a:lstStyle/>
        <a:p>
          <a:endParaRPr lang="it-IT"/>
        </a:p>
      </dgm:t>
    </dgm:pt>
    <dgm:pt modelId="{71F8DB7C-EFD0-46BE-A725-23EE3A48AA0A}">
      <dgm:prSet custT="1"/>
      <dgm:spPr/>
      <dgm:t>
        <a:bodyPr/>
        <a:lstStyle/>
        <a:p>
          <a:pPr algn="just" rtl="0">
            <a:lnSpc>
              <a:spcPct val="100000"/>
            </a:lnSpc>
            <a:spcAft>
              <a:spcPts val="0"/>
            </a:spcAft>
          </a:pPr>
          <a:r>
            <a:rPr lang="it-IT" sz="1800" b="1" kern="1200" dirty="0" smtClean="0">
              <a:solidFill>
                <a:srgbClr val="FFFF00"/>
              </a:solidFill>
              <a:effectLst>
                <a:outerShdw blurRad="38100" dist="38100" dir="2700000" algn="tl">
                  <a:srgbClr val="000000">
                    <a:alpha val="43137"/>
                  </a:srgbClr>
                </a:outerShdw>
              </a:effectLst>
            </a:rPr>
            <a:t>RAFFORZARE IL SISTEMA PRODUTTIVO REGIONALE </a:t>
          </a:r>
          <a:endParaRPr lang="it-IT" sz="1800" b="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endParaRPr>
        </a:p>
        <a:p>
          <a:pPr algn="just" rtl="0">
            <a:lnSpc>
              <a:spcPct val="100000"/>
            </a:lnSpc>
            <a:spcAft>
              <a:spcPts val="0"/>
            </a:spcAft>
          </a:pPr>
          <a:r>
            <a:rPr lang="it-IT" sz="1200" b="1" i="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rPr>
            <a:t>APPROCCIO MULTIDIMENSIONALE </a:t>
          </a:r>
        </a:p>
        <a:p>
          <a:pPr algn="just" rtl="0">
            <a:lnSpc>
              <a:spcPct val="90000"/>
            </a:lnSpc>
            <a:spcAft>
              <a:spcPct val="35000"/>
            </a:spcAft>
          </a:pP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Potenziamento del ruolo dei sistemi innovativi locali più performanti nel presidio di alcune KETs e al contempo </a:t>
          </a:r>
          <a:r>
            <a:rPr lang="it-IT" sz="1400" b="1" u="none"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innalzamento del valore di mercato del tessuto produttivo tradizionale</a:t>
          </a: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 con le maggiori prospettive di riconversione competitiva e di ricaduta occupazionale.</a:t>
          </a:r>
          <a:r>
            <a:rPr lang="it-IT" sz="1400" b="1" kern="1200" dirty="0" smtClean="0">
              <a:solidFill>
                <a:schemeClr val="bg1"/>
              </a:solidFill>
              <a:effectLst/>
              <a:latin typeface="Neo Sans Std Medium" pitchFamily="34" charset="0"/>
              <a:ea typeface="+mn-ea"/>
              <a:cs typeface="+mn-cs"/>
            </a:rPr>
            <a:t> Infine, facilitare e supportare il processo di scoperta imprenditoriale favorendo l’incontro tra gli imprenditori anche emergenti e l’offerta di ricerca.</a:t>
          </a:r>
          <a:endParaRPr lang="it-IT" sz="1400" b="1" kern="1200" dirty="0">
            <a:solidFill>
              <a:schemeClr val="bg1"/>
            </a:solidFill>
            <a:effectLst/>
            <a:latin typeface="Neo Sans Std Medium" pitchFamily="34" charset="0"/>
            <a:ea typeface="+mn-ea"/>
            <a:cs typeface="+mn-cs"/>
          </a:endParaRPr>
        </a:p>
      </dgm:t>
    </dgm:pt>
    <dgm:pt modelId="{72665B98-35CE-4159-B57B-2C79D078C4B0}" type="parTrans" cxnId="{04051AA8-6E1D-4B54-9175-C33BA9537F05}">
      <dgm:prSet/>
      <dgm:spPr/>
      <dgm:t>
        <a:bodyPr/>
        <a:lstStyle/>
        <a:p>
          <a:endParaRPr lang="it-IT"/>
        </a:p>
      </dgm:t>
    </dgm:pt>
    <dgm:pt modelId="{529BB60C-483B-4147-8D40-24F40A32CC2E}" type="sibTrans" cxnId="{04051AA8-6E1D-4B54-9175-C33BA9537F05}">
      <dgm:prSet/>
      <dgm:spPr/>
      <dgm:t>
        <a:bodyPr/>
        <a:lstStyle/>
        <a:p>
          <a:endParaRPr lang="it-IT"/>
        </a:p>
      </dgm:t>
    </dgm:pt>
    <dgm:pt modelId="{13F8570C-D407-4C9C-8203-DDBCD5D8C302}">
      <dgm:prSet custT="1"/>
      <dgm:spPr/>
      <dgm:t>
        <a:bodyPr/>
        <a:lstStyle/>
        <a:p>
          <a:pPr algn="just" rtl="0">
            <a:spcAft>
              <a:spcPts val="0"/>
            </a:spcAft>
          </a:pPr>
          <a:r>
            <a:rPr lang="it-IT" sz="1600" b="1" kern="1200" dirty="0" smtClean="0">
              <a:solidFill>
                <a:srgbClr val="FFFF00"/>
              </a:solidFill>
              <a:effectLst>
                <a:outerShdw blurRad="38100" dist="38100" dir="2700000" algn="tl">
                  <a:srgbClr val="000000">
                    <a:alpha val="43137"/>
                  </a:srgbClr>
                </a:outerShdw>
              </a:effectLst>
            </a:rPr>
            <a:t>SOSTENERE LA DIFFUSIONE DI SOLUZIONI E SERVIZI INNOVATIVI </a:t>
          </a:r>
        </a:p>
        <a:p>
          <a:pPr algn="just" rtl="0">
            <a:spcAft>
              <a:spcPts val="0"/>
            </a:spcAft>
          </a:pPr>
          <a:r>
            <a:rPr lang="it-IT" sz="1200" b="1" i="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rPr>
            <a:t>QUALITÀ DELLA VITA</a:t>
          </a:r>
        </a:p>
        <a:p>
          <a:pPr algn="just" rtl="0">
            <a:spcAft>
              <a:spcPct val="35000"/>
            </a:spcAft>
          </a:pP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Incrementare ed innalzare la diffusione di servizi e soluzioni innovative volti a favorire l’innalzamento della qualità della vita nei luoghi in cui si manifestano bisogni sociali , economici ed ambientali insoddisfatti</a:t>
          </a:r>
          <a:r>
            <a:rPr lang="it-IT" sz="1400" b="1" kern="1200" dirty="0" smtClean="0">
              <a:solidFill>
                <a:schemeClr val="bg1"/>
              </a:solidFill>
              <a:effectLst/>
              <a:latin typeface="Neo Sans Std Medium" pitchFamily="34" charset="0"/>
              <a:ea typeface="+mn-ea"/>
              <a:cs typeface="+mn-cs"/>
            </a:rPr>
            <a:t>. </a:t>
          </a:r>
          <a:endParaRPr lang="it-IT" sz="1400" b="1" kern="1200" dirty="0">
            <a:solidFill>
              <a:schemeClr val="bg1"/>
            </a:solidFill>
            <a:effectLst/>
            <a:latin typeface="Neo Sans Std Medium" pitchFamily="34" charset="0"/>
            <a:ea typeface="+mn-ea"/>
            <a:cs typeface="+mn-cs"/>
          </a:endParaRPr>
        </a:p>
      </dgm:t>
    </dgm:pt>
    <dgm:pt modelId="{7CBDB82A-2D40-4DDC-A622-290E8FFBAC5E}" type="parTrans" cxnId="{67541689-EF41-4D3C-85EB-3F24FD44137C}">
      <dgm:prSet/>
      <dgm:spPr/>
      <dgm:t>
        <a:bodyPr/>
        <a:lstStyle/>
        <a:p>
          <a:endParaRPr lang="it-IT"/>
        </a:p>
      </dgm:t>
    </dgm:pt>
    <dgm:pt modelId="{385923A6-D033-4E5B-96FB-50693EECBDC0}" type="sibTrans" cxnId="{67541689-EF41-4D3C-85EB-3F24FD44137C}">
      <dgm:prSet/>
      <dgm:spPr/>
      <dgm:t>
        <a:bodyPr/>
        <a:lstStyle/>
        <a:p>
          <a:endParaRPr lang="it-IT"/>
        </a:p>
      </dgm:t>
    </dgm:pt>
    <dgm:pt modelId="{A109F5AF-794C-47EB-97A9-F70D426F6B51}">
      <dgm:prSet custT="1"/>
      <dgm:spPr/>
      <dgm:t>
        <a:bodyPr/>
        <a:lstStyle/>
        <a:p>
          <a:pPr algn="just" defTabSz="622300" rtl="0">
            <a:lnSpc>
              <a:spcPct val="90000"/>
            </a:lnSpc>
            <a:spcBef>
              <a:spcPct val="0"/>
            </a:spcBef>
            <a:spcAft>
              <a:spcPts val="0"/>
            </a:spcAft>
          </a:pPr>
          <a:endParaRPr lang="it-IT" sz="1600" b="1" kern="1200" dirty="0" smtClean="0">
            <a:solidFill>
              <a:srgbClr val="FFFF00"/>
            </a:solidFill>
            <a:effectLst>
              <a:outerShdw blurRad="38100" dist="38100" dir="2700000" algn="tl">
                <a:srgbClr val="000000">
                  <a:alpha val="43137"/>
                </a:srgbClr>
              </a:outerShdw>
            </a:effectLst>
          </a:endParaRPr>
        </a:p>
        <a:p>
          <a:pPr algn="just" defTabSz="622300" rtl="0">
            <a:lnSpc>
              <a:spcPct val="90000"/>
            </a:lnSpc>
            <a:spcBef>
              <a:spcPct val="0"/>
            </a:spcBef>
            <a:spcAft>
              <a:spcPts val="0"/>
            </a:spcAft>
          </a:pPr>
          <a:r>
            <a:rPr lang="it-IT" sz="1600" b="1" kern="1200" dirty="0" smtClean="0">
              <a:solidFill>
                <a:srgbClr val="FFFF00"/>
              </a:solidFill>
              <a:effectLst>
                <a:outerShdw blurRad="38100" dist="38100" dir="2700000" algn="tl">
                  <a:srgbClr val="000000">
                    <a:alpha val="43137"/>
                  </a:srgbClr>
                </a:outerShdw>
              </a:effectLst>
            </a:rPr>
            <a:t>PROMUOVERE LA PIÙ AMPIA DIFFUSIONE DELLA CULTURA DELL’INNOVAZIONE </a:t>
          </a:r>
        </a:p>
        <a:p>
          <a:pPr algn="just" defTabSz="622300" rtl="0">
            <a:lnSpc>
              <a:spcPct val="90000"/>
            </a:lnSpc>
            <a:spcBef>
              <a:spcPct val="0"/>
            </a:spcBef>
            <a:spcAft>
              <a:spcPts val="0"/>
            </a:spcAft>
          </a:pPr>
          <a:r>
            <a:rPr lang="it-IT" sz="1200" b="1" i="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rPr>
            <a:t>CAPITALE UMANO</a:t>
          </a:r>
        </a:p>
        <a:p>
          <a:pPr algn="just" defTabSz="622300" rtl="0">
            <a:lnSpc>
              <a:spcPct val="90000"/>
            </a:lnSpc>
            <a:spcBef>
              <a:spcPct val="0"/>
            </a:spcBef>
            <a:spcAft>
              <a:spcPct val="35000"/>
            </a:spcAft>
          </a:pP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Ruolo abilitante del capitale umano mediante un’attività di formazione e informazione che con gli strumenti più adeguati coinvolga tutti i livelli della società, a partire dalla scuola sino ad arrivare alla pubblica amministrazione.</a:t>
          </a:r>
          <a:endParaRPr lang="it-IT" sz="1400" b="1" kern="1200" dirty="0">
            <a:solidFill>
              <a:schemeClr val="bg1"/>
            </a:solidFill>
            <a:effectLst>
              <a:outerShdw blurRad="38100" dist="38100" dir="2700000" algn="tl">
                <a:srgbClr val="000000">
                  <a:alpha val="43137"/>
                </a:srgbClr>
              </a:outerShdw>
            </a:effectLst>
            <a:latin typeface="Neo Sans Std Medium" pitchFamily="34" charset="0"/>
            <a:ea typeface="+mn-ea"/>
            <a:cs typeface="+mn-cs"/>
          </a:endParaRPr>
        </a:p>
      </dgm:t>
    </dgm:pt>
    <dgm:pt modelId="{E6221F95-C69F-41D2-BC2B-D15F2EEA40CF}" type="parTrans" cxnId="{28A0B4C7-D68E-466C-A5FB-FB14E3C52305}">
      <dgm:prSet/>
      <dgm:spPr/>
      <dgm:t>
        <a:bodyPr/>
        <a:lstStyle/>
        <a:p>
          <a:endParaRPr lang="it-IT"/>
        </a:p>
      </dgm:t>
    </dgm:pt>
    <dgm:pt modelId="{39F52CEB-9C6C-4112-9932-5EB4A276AAEE}" type="sibTrans" cxnId="{28A0B4C7-D68E-466C-A5FB-FB14E3C52305}">
      <dgm:prSet/>
      <dgm:spPr/>
      <dgm:t>
        <a:bodyPr/>
        <a:lstStyle/>
        <a:p>
          <a:endParaRPr lang="it-IT"/>
        </a:p>
      </dgm:t>
    </dgm:pt>
    <dgm:pt modelId="{6D3BF0E0-A6D5-4B17-A3EB-39B4A26BDC2B}" type="pres">
      <dgm:prSet presAssocID="{1133BD60-A0CD-4E8D-AC30-5C3DF36BF3E5}" presName="linear" presStyleCnt="0">
        <dgm:presLayoutVars>
          <dgm:dir/>
          <dgm:resizeHandles val="exact"/>
        </dgm:presLayoutVars>
      </dgm:prSet>
      <dgm:spPr/>
      <dgm:t>
        <a:bodyPr/>
        <a:lstStyle/>
        <a:p>
          <a:endParaRPr lang="it-IT"/>
        </a:p>
      </dgm:t>
    </dgm:pt>
    <dgm:pt modelId="{CA8AEC78-038F-492A-B908-010D2113C521}" type="pres">
      <dgm:prSet presAssocID="{71F8DB7C-EFD0-46BE-A725-23EE3A48AA0A}" presName="comp" presStyleCnt="0"/>
      <dgm:spPr/>
    </dgm:pt>
    <dgm:pt modelId="{29168C89-C16B-4E9B-8797-A4838073953D}" type="pres">
      <dgm:prSet presAssocID="{71F8DB7C-EFD0-46BE-A725-23EE3A48AA0A}" presName="box" presStyleLbl="node1" presStyleIdx="0" presStyleCnt="3" custScaleY="116031"/>
      <dgm:spPr/>
      <dgm:t>
        <a:bodyPr/>
        <a:lstStyle/>
        <a:p>
          <a:endParaRPr lang="it-IT"/>
        </a:p>
      </dgm:t>
    </dgm:pt>
    <dgm:pt modelId="{56706EBC-49D7-45F7-BB65-A09CF00B3AFD}" type="pres">
      <dgm:prSet presAssocID="{71F8DB7C-EFD0-46BE-A725-23EE3A48AA0A}" presName="img"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5000" b="-5000"/>
          </a:stretch>
        </a:blipFill>
      </dgm:spPr>
      <dgm:t>
        <a:bodyPr/>
        <a:lstStyle/>
        <a:p>
          <a:endParaRPr lang="it-IT"/>
        </a:p>
      </dgm:t>
    </dgm:pt>
    <dgm:pt modelId="{07DD0761-820B-4475-ABC4-7AF61419E48D}" type="pres">
      <dgm:prSet presAssocID="{71F8DB7C-EFD0-46BE-A725-23EE3A48AA0A}" presName="text" presStyleLbl="node1" presStyleIdx="0" presStyleCnt="3">
        <dgm:presLayoutVars>
          <dgm:bulletEnabled val="1"/>
        </dgm:presLayoutVars>
      </dgm:prSet>
      <dgm:spPr/>
      <dgm:t>
        <a:bodyPr/>
        <a:lstStyle/>
        <a:p>
          <a:endParaRPr lang="it-IT"/>
        </a:p>
      </dgm:t>
    </dgm:pt>
    <dgm:pt modelId="{7E80BCBB-55E6-42F0-946C-3E9CCC0E0E6F}" type="pres">
      <dgm:prSet presAssocID="{529BB60C-483B-4147-8D40-24F40A32CC2E}" presName="spacer" presStyleCnt="0"/>
      <dgm:spPr/>
    </dgm:pt>
    <dgm:pt modelId="{E0FFC190-9ED4-4CE4-B454-C00B62DD686C}" type="pres">
      <dgm:prSet presAssocID="{13F8570C-D407-4C9C-8203-DDBCD5D8C302}" presName="comp" presStyleCnt="0"/>
      <dgm:spPr/>
    </dgm:pt>
    <dgm:pt modelId="{DEF0A50A-EAFC-4B73-A2B3-D743262EC1EA}" type="pres">
      <dgm:prSet presAssocID="{13F8570C-D407-4C9C-8203-DDBCD5D8C302}" presName="box" presStyleLbl="node1" presStyleIdx="1" presStyleCnt="3"/>
      <dgm:spPr/>
      <dgm:t>
        <a:bodyPr/>
        <a:lstStyle/>
        <a:p>
          <a:endParaRPr lang="it-IT"/>
        </a:p>
      </dgm:t>
    </dgm:pt>
    <dgm:pt modelId="{14850E1F-B083-46EA-B8E5-E23BCE6F199B}" type="pres">
      <dgm:prSet presAssocID="{13F8570C-D407-4C9C-8203-DDBCD5D8C302}" presName="img" presStyleLbl="fgImgPlace1" presStyleIdx="1" presStyleCnt="3"/>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22000" r="-22000"/>
          </a:stretch>
        </a:blipFill>
      </dgm:spPr>
    </dgm:pt>
    <dgm:pt modelId="{E934FE83-CA18-4800-8D6D-33DB6B5DCEC5}" type="pres">
      <dgm:prSet presAssocID="{13F8570C-D407-4C9C-8203-DDBCD5D8C302}" presName="text" presStyleLbl="node1" presStyleIdx="1" presStyleCnt="3">
        <dgm:presLayoutVars>
          <dgm:bulletEnabled val="1"/>
        </dgm:presLayoutVars>
      </dgm:prSet>
      <dgm:spPr/>
      <dgm:t>
        <a:bodyPr/>
        <a:lstStyle/>
        <a:p>
          <a:endParaRPr lang="it-IT"/>
        </a:p>
      </dgm:t>
    </dgm:pt>
    <dgm:pt modelId="{813ADF44-2770-4D57-BF70-9ABFCFA72BD7}" type="pres">
      <dgm:prSet presAssocID="{385923A6-D033-4E5B-96FB-50693EECBDC0}" presName="spacer" presStyleCnt="0"/>
      <dgm:spPr/>
    </dgm:pt>
    <dgm:pt modelId="{010A942C-F660-4AE8-AA29-3AEEF53DB41B}" type="pres">
      <dgm:prSet presAssocID="{A109F5AF-794C-47EB-97A9-F70D426F6B51}" presName="comp" presStyleCnt="0"/>
      <dgm:spPr/>
    </dgm:pt>
    <dgm:pt modelId="{E58B2A6B-DCD5-4D44-B383-E5475A122E28}" type="pres">
      <dgm:prSet presAssocID="{A109F5AF-794C-47EB-97A9-F70D426F6B51}" presName="box" presStyleLbl="node1" presStyleIdx="2" presStyleCnt="3"/>
      <dgm:spPr/>
      <dgm:t>
        <a:bodyPr/>
        <a:lstStyle/>
        <a:p>
          <a:endParaRPr lang="it-IT"/>
        </a:p>
      </dgm:t>
    </dgm:pt>
    <dgm:pt modelId="{03CAC9C2-748F-4326-A0C0-01022A85A403}" type="pres">
      <dgm:prSet presAssocID="{A109F5AF-794C-47EB-97A9-F70D426F6B51}" presName="img"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10000" r="-10000"/>
          </a:stretch>
        </a:blipFill>
      </dgm:spPr>
    </dgm:pt>
    <dgm:pt modelId="{95D74581-BBB4-4660-B949-2FEE5FB4CC0A}" type="pres">
      <dgm:prSet presAssocID="{A109F5AF-794C-47EB-97A9-F70D426F6B51}" presName="text" presStyleLbl="node1" presStyleIdx="2" presStyleCnt="3">
        <dgm:presLayoutVars>
          <dgm:bulletEnabled val="1"/>
        </dgm:presLayoutVars>
      </dgm:prSet>
      <dgm:spPr/>
      <dgm:t>
        <a:bodyPr/>
        <a:lstStyle/>
        <a:p>
          <a:endParaRPr lang="it-IT"/>
        </a:p>
      </dgm:t>
    </dgm:pt>
  </dgm:ptLst>
  <dgm:cxnLst>
    <dgm:cxn modelId="{72959BC6-82CB-477B-83A2-D10155A9A704}" type="presOf" srcId="{A109F5AF-794C-47EB-97A9-F70D426F6B51}" destId="{E58B2A6B-DCD5-4D44-B383-E5475A122E28}" srcOrd="0" destOrd="0" presId="urn:microsoft.com/office/officeart/2005/8/layout/vList4#1"/>
    <dgm:cxn modelId="{40EF9F3F-390C-46DB-8EC7-B92533F6B5DF}" type="presOf" srcId="{71F8DB7C-EFD0-46BE-A725-23EE3A48AA0A}" destId="{29168C89-C16B-4E9B-8797-A4838073953D}" srcOrd="0" destOrd="0" presId="urn:microsoft.com/office/officeart/2005/8/layout/vList4#1"/>
    <dgm:cxn modelId="{04051AA8-6E1D-4B54-9175-C33BA9537F05}" srcId="{1133BD60-A0CD-4E8D-AC30-5C3DF36BF3E5}" destId="{71F8DB7C-EFD0-46BE-A725-23EE3A48AA0A}" srcOrd="0" destOrd="0" parTransId="{72665B98-35CE-4159-B57B-2C79D078C4B0}" sibTransId="{529BB60C-483B-4147-8D40-24F40A32CC2E}"/>
    <dgm:cxn modelId="{A3BF0662-D937-4F57-953E-13B956BAC5C6}" type="presOf" srcId="{1133BD60-A0CD-4E8D-AC30-5C3DF36BF3E5}" destId="{6D3BF0E0-A6D5-4B17-A3EB-39B4A26BDC2B}" srcOrd="0" destOrd="0" presId="urn:microsoft.com/office/officeart/2005/8/layout/vList4#1"/>
    <dgm:cxn modelId="{28A0B4C7-D68E-466C-A5FB-FB14E3C52305}" srcId="{1133BD60-A0CD-4E8D-AC30-5C3DF36BF3E5}" destId="{A109F5AF-794C-47EB-97A9-F70D426F6B51}" srcOrd="2" destOrd="0" parTransId="{E6221F95-C69F-41D2-BC2B-D15F2EEA40CF}" sibTransId="{39F52CEB-9C6C-4112-9932-5EB4A276AAEE}"/>
    <dgm:cxn modelId="{041241FB-03AD-4848-AA2B-01DAAFEF17BE}" type="presOf" srcId="{13F8570C-D407-4C9C-8203-DDBCD5D8C302}" destId="{DEF0A50A-EAFC-4B73-A2B3-D743262EC1EA}" srcOrd="0" destOrd="0" presId="urn:microsoft.com/office/officeart/2005/8/layout/vList4#1"/>
    <dgm:cxn modelId="{67541689-EF41-4D3C-85EB-3F24FD44137C}" srcId="{1133BD60-A0CD-4E8D-AC30-5C3DF36BF3E5}" destId="{13F8570C-D407-4C9C-8203-DDBCD5D8C302}" srcOrd="1" destOrd="0" parTransId="{7CBDB82A-2D40-4DDC-A622-290E8FFBAC5E}" sibTransId="{385923A6-D033-4E5B-96FB-50693EECBDC0}"/>
    <dgm:cxn modelId="{8D142221-89D3-4180-BF73-1883E075AD46}" type="presOf" srcId="{A109F5AF-794C-47EB-97A9-F70D426F6B51}" destId="{95D74581-BBB4-4660-B949-2FEE5FB4CC0A}" srcOrd="1" destOrd="0" presId="urn:microsoft.com/office/officeart/2005/8/layout/vList4#1"/>
    <dgm:cxn modelId="{A74BB3E6-9B92-4D50-A5CA-19CC67253689}" type="presOf" srcId="{13F8570C-D407-4C9C-8203-DDBCD5D8C302}" destId="{E934FE83-CA18-4800-8D6D-33DB6B5DCEC5}" srcOrd="1" destOrd="0" presId="urn:microsoft.com/office/officeart/2005/8/layout/vList4#1"/>
    <dgm:cxn modelId="{C72F8CB1-EC6F-48AE-B4C8-5C4358CC5AFA}" type="presOf" srcId="{71F8DB7C-EFD0-46BE-A725-23EE3A48AA0A}" destId="{07DD0761-820B-4475-ABC4-7AF61419E48D}" srcOrd="1" destOrd="0" presId="urn:microsoft.com/office/officeart/2005/8/layout/vList4#1"/>
    <dgm:cxn modelId="{794597EA-68AD-4B87-94CC-6A7DDAE371B2}" type="presParOf" srcId="{6D3BF0E0-A6D5-4B17-A3EB-39B4A26BDC2B}" destId="{CA8AEC78-038F-492A-B908-010D2113C521}" srcOrd="0" destOrd="0" presId="urn:microsoft.com/office/officeart/2005/8/layout/vList4#1"/>
    <dgm:cxn modelId="{E61BDEB3-5C87-4E8F-B444-BFFCAADF9F80}" type="presParOf" srcId="{CA8AEC78-038F-492A-B908-010D2113C521}" destId="{29168C89-C16B-4E9B-8797-A4838073953D}" srcOrd="0" destOrd="0" presId="urn:microsoft.com/office/officeart/2005/8/layout/vList4#1"/>
    <dgm:cxn modelId="{1E567150-C7D7-4150-BC24-BC5132F0CE5A}" type="presParOf" srcId="{CA8AEC78-038F-492A-B908-010D2113C521}" destId="{56706EBC-49D7-45F7-BB65-A09CF00B3AFD}" srcOrd="1" destOrd="0" presId="urn:microsoft.com/office/officeart/2005/8/layout/vList4#1"/>
    <dgm:cxn modelId="{1FEE4081-45BF-4748-8963-7991059902CA}" type="presParOf" srcId="{CA8AEC78-038F-492A-B908-010D2113C521}" destId="{07DD0761-820B-4475-ABC4-7AF61419E48D}" srcOrd="2" destOrd="0" presId="urn:microsoft.com/office/officeart/2005/8/layout/vList4#1"/>
    <dgm:cxn modelId="{616DF5C0-B8D4-436E-BA84-D2D9E5960342}" type="presParOf" srcId="{6D3BF0E0-A6D5-4B17-A3EB-39B4A26BDC2B}" destId="{7E80BCBB-55E6-42F0-946C-3E9CCC0E0E6F}" srcOrd="1" destOrd="0" presId="urn:microsoft.com/office/officeart/2005/8/layout/vList4#1"/>
    <dgm:cxn modelId="{E1CFB710-D19D-4D3C-800D-9FA88A462C98}" type="presParOf" srcId="{6D3BF0E0-A6D5-4B17-A3EB-39B4A26BDC2B}" destId="{E0FFC190-9ED4-4CE4-B454-C00B62DD686C}" srcOrd="2" destOrd="0" presId="urn:microsoft.com/office/officeart/2005/8/layout/vList4#1"/>
    <dgm:cxn modelId="{F10AD797-8FCF-4548-91C9-8B875C722553}" type="presParOf" srcId="{E0FFC190-9ED4-4CE4-B454-C00B62DD686C}" destId="{DEF0A50A-EAFC-4B73-A2B3-D743262EC1EA}" srcOrd="0" destOrd="0" presId="urn:microsoft.com/office/officeart/2005/8/layout/vList4#1"/>
    <dgm:cxn modelId="{6CA8AE8F-5170-469A-B69A-A25D5927B59F}" type="presParOf" srcId="{E0FFC190-9ED4-4CE4-B454-C00B62DD686C}" destId="{14850E1F-B083-46EA-B8E5-E23BCE6F199B}" srcOrd="1" destOrd="0" presId="urn:microsoft.com/office/officeart/2005/8/layout/vList4#1"/>
    <dgm:cxn modelId="{D38F36DA-824E-4658-84D8-527DC3FD6BFA}" type="presParOf" srcId="{E0FFC190-9ED4-4CE4-B454-C00B62DD686C}" destId="{E934FE83-CA18-4800-8D6D-33DB6B5DCEC5}" srcOrd="2" destOrd="0" presId="urn:microsoft.com/office/officeart/2005/8/layout/vList4#1"/>
    <dgm:cxn modelId="{4FA19C6A-279F-4E9B-BD6C-E77B6ECA7178}" type="presParOf" srcId="{6D3BF0E0-A6D5-4B17-A3EB-39B4A26BDC2B}" destId="{813ADF44-2770-4D57-BF70-9ABFCFA72BD7}" srcOrd="3" destOrd="0" presId="urn:microsoft.com/office/officeart/2005/8/layout/vList4#1"/>
    <dgm:cxn modelId="{06A9408B-33DC-48C2-A3D6-82272D64E42D}" type="presParOf" srcId="{6D3BF0E0-A6D5-4B17-A3EB-39B4A26BDC2B}" destId="{010A942C-F660-4AE8-AA29-3AEEF53DB41B}" srcOrd="4" destOrd="0" presId="urn:microsoft.com/office/officeart/2005/8/layout/vList4#1"/>
    <dgm:cxn modelId="{00B285D2-2D75-4EE6-9087-C2C36BFD3914}" type="presParOf" srcId="{010A942C-F660-4AE8-AA29-3AEEF53DB41B}" destId="{E58B2A6B-DCD5-4D44-B383-E5475A122E28}" srcOrd="0" destOrd="0" presId="urn:microsoft.com/office/officeart/2005/8/layout/vList4#1"/>
    <dgm:cxn modelId="{4D50F57C-8561-4857-B55A-E61B51A262E8}" type="presParOf" srcId="{010A942C-F660-4AE8-AA29-3AEEF53DB41B}" destId="{03CAC9C2-748F-4326-A0C0-01022A85A403}" srcOrd="1" destOrd="0" presId="urn:microsoft.com/office/officeart/2005/8/layout/vList4#1"/>
    <dgm:cxn modelId="{93FD45BF-D156-4AC3-BD83-6F3218CC37C1}" type="presParOf" srcId="{010A942C-F660-4AE8-AA29-3AEEF53DB41B}" destId="{95D74581-BBB4-4660-B949-2FEE5FB4CC0A}" srcOrd="2" destOrd="0" presId="urn:microsoft.com/office/officeart/2005/8/layout/vList4#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DD2A2349-D5E1-4B0B-BC4D-12DFD2A1F555}" type="doc">
      <dgm:prSet loTypeId="urn:microsoft.com/office/officeart/2005/8/layout/gear1" loCatId="relationship" qsTypeId="urn:microsoft.com/office/officeart/2005/8/quickstyle/simple1" qsCatId="simple" csTypeId="urn:microsoft.com/office/officeart/2005/8/colors/accent2_1" csCatId="accent2" phldr="1"/>
      <dgm:spPr/>
      <dgm:t>
        <a:bodyPr/>
        <a:lstStyle/>
        <a:p>
          <a:endParaRPr lang="it-IT"/>
        </a:p>
      </dgm:t>
    </dgm:pt>
    <dgm:pt modelId="{DB8CAAE3-2297-43B6-A573-85B61E9001B2}">
      <dgm:prSet custT="1"/>
      <dgm:spPr/>
      <dgm:t>
        <a:bodyPr/>
        <a:lstStyle/>
        <a:p>
          <a:pPr rtl="0"/>
          <a:r>
            <a:rPr lang="it-IT" sz="1200" b="1" dirty="0" smtClean="0">
              <a:solidFill>
                <a:schemeClr val="accent1">
                  <a:lumMod val="75000"/>
                </a:schemeClr>
              </a:solidFill>
              <a:effectLst>
                <a:outerShdw blurRad="38100" dist="38100" dir="2700000" algn="tl">
                  <a:srgbClr val="000000">
                    <a:alpha val="43137"/>
                  </a:srgbClr>
                </a:outerShdw>
              </a:effectLst>
              <a:latin typeface="Neo Sans Std Medium"/>
            </a:rPr>
            <a:t>OT 1 </a:t>
          </a:r>
          <a:endParaRPr lang="it-IT" sz="1200" b="1" dirty="0">
            <a:solidFill>
              <a:schemeClr val="accent1">
                <a:lumMod val="75000"/>
              </a:schemeClr>
            </a:solidFill>
            <a:effectLst>
              <a:outerShdw blurRad="38100" dist="38100" dir="2700000" algn="tl">
                <a:srgbClr val="000000">
                  <a:alpha val="43137"/>
                </a:srgbClr>
              </a:outerShdw>
            </a:effectLst>
            <a:latin typeface="Neo Sans Std Medium"/>
          </a:endParaRPr>
        </a:p>
      </dgm:t>
    </dgm:pt>
    <dgm:pt modelId="{2237D9B8-7080-493B-9788-0BF61F2516A0}" type="parTrans" cxnId="{44DDB8E2-0EF3-4633-BF2B-E93BCCBAFA89}">
      <dgm:prSet/>
      <dgm:spPr/>
      <dgm:t>
        <a:bodyPr/>
        <a:lstStyle/>
        <a:p>
          <a:endParaRPr lang="it-IT"/>
        </a:p>
      </dgm:t>
    </dgm:pt>
    <dgm:pt modelId="{D388EEC3-03C3-47A8-890B-2496F9CBA67B}" type="sibTrans" cxnId="{44DDB8E2-0EF3-4633-BF2B-E93BCCBAFA89}">
      <dgm:prSet/>
      <dgm:spPr/>
      <dgm:t>
        <a:bodyPr/>
        <a:lstStyle/>
        <a:p>
          <a:endParaRPr lang="it-IT"/>
        </a:p>
      </dgm:t>
    </dgm:pt>
    <dgm:pt modelId="{83267C61-1508-43DC-B21B-6C4CC85B645F}">
      <dgm:prSet custT="1"/>
      <dgm:spPr/>
      <dgm:t>
        <a:bodyPr/>
        <a:lstStyle/>
        <a:p>
          <a:pPr rtl="0"/>
          <a:r>
            <a:rPr lang="it-IT" sz="1200" b="1" dirty="0" smtClean="0">
              <a:solidFill>
                <a:schemeClr val="accent1">
                  <a:lumMod val="75000"/>
                </a:schemeClr>
              </a:solidFill>
              <a:effectLst>
                <a:outerShdw blurRad="38100" dist="38100" dir="2700000" algn="tl">
                  <a:srgbClr val="000000">
                    <a:alpha val="43137"/>
                  </a:srgbClr>
                </a:outerShdw>
              </a:effectLst>
              <a:latin typeface="Neo Sans Std Medium"/>
            </a:rPr>
            <a:t>OT 2</a:t>
          </a:r>
          <a:endParaRPr lang="it-IT" sz="1200" b="1" dirty="0">
            <a:solidFill>
              <a:schemeClr val="accent1">
                <a:lumMod val="75000"/>
              </a:schemeClr>
            </a:solidFill>
            <a:effectLst>
              <a:outerShdw blurRad="38100" dist="38100" dir="2700000" algn="tl">
                <a:srgbClr val="000000">
                  <a:alpha val="43137"/>
                </a:srgbClr>
              </a:outerShdw>
            </a:effectLst>
            <a:latin typeface="Neo Sans Std Medium"/>
          </a:endParaRPr>
        </a:p>
      </dgm:t>
    </dgm:pt>
    <dgm:pt modelId="{68B8E43C-2B2E-4FE0-AE78-B902D4E2AAF2}" type="parTrans" cxnId="{073B4C41-417B-4F58-A495-297D90913EA8}">
      <dgm:prSet/>
      <dgm:spPr/>
      <dgm:t>
        <a:bodyPr/>
        <a:lstStyle/>
        <a:p>
          <a:endParaRPr lang="it-IT"/>
        </a:p>
      </dgm:t>
    </dgm:pt>
    <dgm:pt modelId="{4E4C1904-5B45-41CD-B782-D4F6DF3319A5}" type="sibTrans" cxnId="{073B4C41-417B-4F58-A495-297D90913EA8}">
      <dgm:prSet/>
      <dgm:spPr/>
      <dgm:t>
        <a:bodyPr/>
        <a:lstStyle/>
        <a:p>
          <a:endParaRPr lang="it-IT"/>
        </a:p>
      </dgm:t>
    </dgm:pt>
    <dgm:pt modelId="{04CEFBD9-3179-4291-917F-D814B58269B2}" type="pres">
      <dgm:prSet presAssocID="{DD2A2349-D5E1-4B0B-BC4D-12DFD2A1F555}" presName="composite" presStyleCnt="0">
        <dgm:presLayoutVars>
          <dgm:chMax val="3"/>
          <dgm:animLvl val="lvl"/>
          <dgm:resizeHandles val="exact"/>
        </dgm:presLayoutVars>
      </dgm:prSet>
      <dgm:spPr/>
      <dgm:t>
        <a:bodyPr/>
        <a:lstStyle/>
        <a:p>
          <a:endParaRPr lang="it-IT"/>
        </a:p>
      </dgm:t>
    </dgm:pt>
    <dgm:pt modelId="{2EE2CEB5-124D-44F5-9096-E7ECAF2F2101}" type="pres">
      <dgm:prSet presAssocID="{DB8CAAE3-2297-43B6-A573-85B61E9001B2}" presName="gear1" presStyleLbl="node1" presStyleIdx="0" presStyleCnt="2" custLinFactNeighborX="63389" custLinFactNeighborY="-17272">
        <dgm:presLayoutVars>
          <dgm:chMax val="1"/>
          <dgm:bulletEnabled val="1"/>
        </dgm:presLayoutVars>
      </dgm:prSet>
      <dgm:spPr/>
      <dgm:t>
        <a:bodyPr/>
        <a:lstStyle/>
        <a:p>
          <a:endParaRPr lang="it-IT"/>
        </a:p>
      </dgm:t>
    </dgm:pt>
    <dgm:pt modelId="{3115EADC-B8B2-4B58-B882-7BA79A4C3E8C}" type="pres">
      <dgm:prSet presAssocID="{DB8CAAE3-2297-43B6-A573-85B61E9001B2}" presName="gear1srcNode" presStyleLbl="node1" presStyleIdx="0" presStyleCnt="2"/>
      <dgm:spPr/>
      <dgm:t>
        <a:bodyPr/>
        <a:lstStyle/>
        <a:p>
          <a:endParaRPr lang="it-IT"/>
        </a:p>
      </dgm:t>
    </dgm:pt>
    <dgm:pt modelId="{128F0A60-3FF4-4381-B2EE-759ED4374620}" type="pres">
      <dgm:prSet presAssocID="{DB8CAAE3-2297-43B6-A573-85B61E9001B2}" presName="gear1dstNode" presStyleLbl="node1" presStyleIdx="0" presStyleCnt="2"/>
      <dgm:spPr/>
      <dgm:t>
        <a:bodyPr/>
        <a:lstStyle/>
        <a:p>
          <a:endParaRPr lang="it-IT"/>
        </a:p>
      </dgm:t>
    </dgm:pt>
    <dgm:pt modelId="{48AC5F59-43C7-463B-9C6A-CEA2081E1C1C}" type="pres">
      <dgm:prSet presAssocID="{83267C61-1508-43DC-B21B-6C4CC85B645F}" presName="gear2" presStyleLbl="node1" presStyleIdx="1" presStyleCnt="2" custLinFactNeighborX="80598" custLinFactNeighborY="56111">
        <dgm:presLayoutVars>
          <dgm:chMax val="1"/>
          <dgm:bulletEnabled val="1"/>
        </dgm:presLayoutVars>
      </dgm:prSet>
      <dgm:spPr/>
      <dgm:t>
        <a:bodyPr/>
        <a:lstStyle/>
        <a:p>
          <a:endParaRPr lang="it-IT"/>
        </a:p>
      </dgm:t>
    </dgm:pt>
    <dgm:pt modelId="{A805CD41-67EA-4513-9E61-A8C3D66DFD07}" type="pres">
      <dgm:prSet presAssocID="{83267C61-1508-43DC-B21B-6C4CC85B645F}" presName="gear2srcNode" presStyleLbl="node1" presStyleIdx="1" presStyleCnt="2"/>
      <dgm:spPr/>
      <dgm:t>
        <a:bodyPr/>
        <a:lstStyle/>
        <a:p>
          <a:endParaRPr lang="it-IT"/>
        </a:p>
      </dgm:t>
    </dgm:pt>
    <dgm:pt modelId="{F2B40673-4C71-4A98-9339-977C54C5A9D5}" type="pres">
      <dgm:prSet presAssocID="{83267C61-1508-43DC-B21B-6C4CC85B645F}" presName="gear2dstNode" presStyleLbl="node1" presStyleIdx="1" presStyleCnt="2"/>
      <dgm:spPr/>
      <dgm:t>
        <a:bodyPr/>
        <a:lstStyle/>
        <a:p>
          <a:endParaRPr lang="it-IT"/>
        </a:p>
      </dgm:t>
    </dgm:pt>
    <dgm:pt modelId="{9C58820E-B88E-42EC-B94E-53580DE862F7}" type="pres">
      <dgm:prSet presAssocID="{D388EEC3-03C3-47A8-890B-2496F9CBA67B}" presName="connector1" presStyleLbl="sibTrans2D1" presStyleIdx="0" presStyleCnt="2" custLinFactNeighborX="51535" custLinFactNeighborY="-14042"/>
      <dgm:spPr/>
      <dgm:t>
        <a:bodyPr/>
        <a:lstStyle/>
        <a:p>
          <a:endParaRPr lang="it-IT"/>
        </a:p>
      </dgm:t>
    </dgm:pt>
    <dgm:pt modelId="{271AF710-52C6-4140-9C37-87300CDE1B1A}" type="pres">
      <dgm:prSet presAssocID="{4E4C1904-5B45-41CD-B782-D4F6DF3319A5}" presName="connector2" presStyleLbl="sibTrans2D1" presStyleIdx="1" presStyleCnt="2" custLinFactNeighborX="62397" custLinFactNeighborY="52971"/>
      <dgm:spPr/>
      <dgm:t>
        <a:bodyPr/>
        <a:lstStyle/>
        <a:p>
          <a:endParaRPr lang="it-IT"/>
        </a:p>
      </dgm:t>
    </dgm:pt>
  </dgm:ptLst>
  <dgm:cxnLst>
    <dgm:cxn modelId="{4D79AC05-D810-4033-BD47-F6422B68BD9A}" type="presOf" srcId="{DB8CAAE3-2297-43B6-A573-85B61E9001B2}" destId="{3115EADC-B8B2-4B58-B882-7BA79A4C3E8C}" srcOrd="1" destOrd="0" presId="urn:microsoft.com/office/officeart/2005/8/layout/gear1"/>
    <dgm:cxn modelId="{073B4C41-417B-4F58-A495-297D90913EA8}" srcId="{DD2A2349-D5E1-4B0B-BC4D-12DFD2A1F555}" destId="{83267C61-1508-43DC-B21B-6C4CC85B645F}" srcOrd="1" destOrd="0" parTransId="{68B8E43C-2B2E-4FE0-AE78-B902D4E2AAF2}" sibTransId="{4E4C1904-5B45-41CD-B782-D4F6DF3319A5}"/>
    <dgm:cxn modelId="{F1328BCF-20D6-41F0-AD7D-44D568718A5D}" type="presOf" srcId="{83267C61-1508-43DC-B21B-6C4CC85B645F}" destId="{A805CD41-67EA-4513-9E61-A8C3D66DFD07}" srcOrd="1" destOrd="0" presId="urn:microsoft.com/office/officeart/2005/8/layout/gear1"/>
    <dgm:cxn modelId="{78F87805-3D18-476F-9C92-FD063F4E1579}" type="presOf" srcId="{83267C61-1508-43DC-B21B-6C4CC85B645F}" destId="{F2B40673-4C71-4A98-9339-977C54C5A9D5}" srcOrd="2" destOrd="0" presId="urn:microsoft.com/office/officeart/2005/8/layout/gear1"/>
    <dgm:cxn modelId="{B5401E67-796C-4F63-AAA8-0F7FBA60BDFE}" type="presOf" srcId="{D388EEC3-03C3-47A8-890B-2496F9CBA67B}" destId="{9C58820E-B88E-42EC-B94E-53580DE862F7}" srcOrd="0" destOrd="0" presId="urn:microsoft.com/office/officeart/2005/8/layout/gear1"/>
    <dgm:cxn modelId="{F52DA9C6-7D5F-450E-B428-6DC6E52118E6}" type="presOf" srcId="{DB8CAAE3-2297-43B6-A573-85B61E9001B2}" destId="{2EE2CEB5-124D-44F5-9096-E7ECAF2F2101}" srcOrd="0" destOrd="0" presId="urn:microsoft.com/office/officeart/2005/8/layout/gear1"/>
    <dgm:cxn modelId="{2939F2A9-3ABC-4176-AB6A-C4641BDBD095}" type="presOf" srcId="{DB8CAAE3-2297-43B6-A573-85B61E9001B2}" destId="{128F0A60-3FF4-4381-B2EE-759ED4374620}" srcOrd="2" destOrd="0" presId="urn:microsoft.com/office/officeart/2005/8/layout/gear1"/>
    <dgm:cxn modelId="{A6BED549-14AE-463C-B9D7-5F42D23BEA88}" type="presOf" srcId="{4E4C1904-5B45-41CD-B782-D4F6DF3319A5}" destId="{271AF710-52C6-4140-9C37-87300CDE1B1A}" srcOrd="0" destOrd="0" presId="urn:microsoft.com/office/officeart/2005/8/layout/gear1"/>
    <dgm:cxn modelId="{44DDB8E2-0EF3-4633-BF2B-E93BCCBAFA89}" srcId="{DD2A2349-D5E1-4B0B-BC4D-12DFD2A1F555}" destId="{DB8CAAE3-2297-43B6-A573-85B61E9001B2}" srcOrd="0" destOrd="0" parTransId="{2237D9B8-7080-493B-9788-0BF61F2516A0}" sibTransId="{D388EEC3-03C3-47A8-890B-2496F9CBA67B}"/>
    <dgm:cxn modelId="{743B70D9-6AAC-49F1-833F-355BAF46B69C}" type="presOf" srcId="{DD2A2349-D5E1-4B0B-BC4D-12DFD2A1F555}" destId="{04CEFBD9-3179-4291-917F-D814B58269B2}" srcOrd="0" destOrd="0" presId="urn:microsoft.com/office/officeart/2005/8/layout/gear1"/>
    <dgm:cxn modelId="{003EBC4B-3622-4D1B-AC31-AF6397780B73}" type="presOf" srcId="{83267C61-1508-43DC-B21B-6C4CC85B645F}" destId="{48AC5F59-43C7-463B-9C6A-CEA2081E1C1C}" srcOrd="0" destOrd="0" presId="urn:microsoft.com/office/officeart/2005/8/layout/gear1"/>
    <dgm:cxn modelId="{656A9FBA-2A9B-43D7-BEE8-304117D2EEF3}" type="presParOf" srcId="{04CEFBD9-3179-4291-917F-D814B58269B2}" destId="{2EE2CEB5-124D-44F5-9096-E7ECAF2F2101}" srcOrd="0" destOrd="0" presId="urn:microsoft.com/office/officeart/2005/8/layout/gear1"/>
    <dgm:cxn modelId="{32A94350-5480-4865-9024-8F3E8A29C0CC}" type="presParOf" srcId="{04CEFBD9-3179-4291-917F-D814B58269B2}" destId="{3115EADC-B8B2-4B58-B882-7BA79A4C3E8C}" srcOrd="1" destOrd="0" presId="urn:microsoft.com/office/officeart/2005/8/layout/gear1"/>
    <dgm:cxn modelId="{44215D6A-DDF6-4821-B53D-42DE4F9D075E}" type="presParOf" srcId="{04CEFBD9-3179-4291-917F-D814B58269B2}" destId="{128F0A60-3FF4-4381-B2EE-759ED4374620}" srcOrd="2" destOrd="0" presId="urn:microsoft.com/office/officeart/2005/8/layout/gear1"/>
    <dgm:cxn modelId="{3026A94A-7E24-4708-B5AE-75E213C024AF}" type="presParOf" srcId="{04CEFBD9-3179-4291-917F-D814B58269B2}" destId="{48AC5F59-43C7-463B-9C6A-CEA2081E1C1C}" srcOrd="3" destOrd="0" presId="urn:microsoft.com/office/officeart/2005/8/layout/gear1"/>
    <dgm:cxn modelId="{7DCA5222-FF52-4B33-9189-F77C4A0CDAAF}" type="presParOf" srcId="{04CEFBD9-3179-4291-917F-D814B58269B2}" destId="{A805CD41-67EA-4513-9E61-A8C3D66DFD07}" srcOrd="4" destOrd="0" presId="urn:microsoft.com/office/officeart/2005/8/layout/gear1"/>
    <dgm:cxn modelId="{ECA1DBC2-C9A1-4A94-AC77-187A07D4204E}" type="presParOf" srcId="{04CEFBD9-3179-4291-917F-D814B58269B2}" destId="{F2B40673-4C71-4A98-9339-977C54C5A9D5}" srcOrd="5" destOrd="0" presId="urn:microsoft.com/office/officeart/2005/8/layout/gear1"/>
    <dgm:cxn modelId="{EDD7F182-9036-48F2-BAEC-87AB01E23595}" type="presParOf" srcId="{04CEFBD9-3179-4291-917F-D814B58269B2}" destId="{9C58820E-B88E-42EC-B94E-53580DE862F7}" srcOrd="6" destOrd="0" presId="urn:microsoft.com/office/officeart/2005/8/layout/gear1"/>
    <dgm:cxn modelId="{8AA3122A-71EB-4200-97E6-9632CB428F78}" type="presParOf" srcId="{04CEFBD9-3179-4291-917F-D814B58269B2}" destId="{271AF710-52C6-4140-9C37-87300CDE1B1A}" srcOrd="7"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E63ACFB1-B77F-4015-9BED-EC30BF08F771}" type="doc">
      <dgm:prSet loTypeId="urn:microsoft.com/office/officeart/2005/8/layout/hChevron3" loCatId="process" qsTypeId="urn:microsoft.com/office/officeart/2005/8/quickstyle/simple1" qsCatId="simple" csTypeId="urn:microsoft.com/office/officeart/2005/8/colors/accent1_2" csCatId="accent1" phldr="1"/>
      <dgm:spPr/>
      <dgm:t>
        <a:bodyPr/>
        <a:lstStyle/>
        <a:p>
          <a:endParaRPr lang="it-IT"/>
        </a:p>
      </dgm:t>
    </dgm:pt>
    <dgm:pt modelId="{E46B0764-5BD0-4874-96A3-55F283CF28ED}">
      <dgm:prSet/>
      <dgm:spPr>
        <a:solidFill>
          <a:srgbClr val="FFC000"/>
        </a:solidFill>
      </dgm:spPr>
      <dgm:t>
        <a:bodyPr/>
        <a:lstStyle/>
        <a:p>
          <a:pPr rtl="0"/>
          <a:r>
            <a:rPr lang="it-IT" dirty="0" smtClean="0"/>
            <a:t>Verso il PO FESR 2014-2020</a:t>
          </a:r>
          <a:endParaRPr lang="it-IT" dirty="0"/>
        </a:p>
      </dgm:t>
    </dgm:pt>
    <dgm:pt modelId="{B88FFC91-1F6F-4375-8676-72BE85B74A9B}" type="parTrans" cxnId="{EB38DD7B-3F2C-41A1-87E8-22B0F5F058E1}">
      <dgm:prSet/>
      <dgm:spPr/>
      <dgm:t>
        <a:bodyPr/>
        <a:lstStyle/>
        <a:p>
          <a:endParaRPr lang="it-IT"/>
        </a:p>
      </dgm:t>
    </dgm:pt>
    <dgm:pt modelId="{0F6C585C-BEAF-403B-BAC3-5E6D53278BED}" type="sibTrans" cxnId="{EB38DD7B-3F2C-41A1-87E8-22B0F5F058E1}">
      <dgm:prSet/>
      <dgm:spPr/>
      <dgm:t>
        <a:bodyPr/>
        <a:lstStyle/>
        <a:p>
          <a:endParaRPr lang="it-IT"/>
        </a:p>
      </dgm:t>
    </dgm:pt>
    <dgm:pt modelId="{42458090-426A-4F00-AD2D-8E2703041A28}" type="pres">
      <dgm:prSet presAssocID="{E63ACFB1-B77F-4015-9BED-EC30BF08F771}" presName="Name0" presStyleCnt="0">
        <dgm:presLayoutVars>
          <dgm:dir/>
          <dgm:resizeHandles val="exact"/>
        </dgm:presLayoutVars>
      </dgm:prSet>
      <dgm:spPr/>
      <dgm:t>
        <a:bodyPr/>
        <a:lstStyle/>
        <a:p>
          <a:endParaRPr lang="it-IT"/>
        </a:p>
      </dgm:t>
    </dgm:pt>
    <dgm:pt modelId="{FB318694-7D13-4394-9999-743EFAEC9488}" type="pres">
      <dgm:prSet presAssocID="{E46B0764-5BD0-4874-96A3-55F283CF28ED}" presName="parTxOnly" presStyleLbl="node1" presStyleIdx="0" presStyleCnt="1" custAng="0" custScaleX="41573" custLinFactNeighborX="18726">
        <dgm:presLayoutVars>
          <dgm:bulletEnabled val="1"/>
        </dgm:presLayoutVars>
      </dgm:prSet>
      <dgm:spPr/>
      <dgm:t>
        <a:bodyPr/>
        <a:lstStyle/>
        <a:p>
          <a:endParaRPr lang="it-IT"/>
        </a:p>
      </dgm:t>
    </dgm:pt>
  </dgm:ptLst>
  <dgm:cxnLst>
    <dgm:cxn modelId="{EB38DD7B-3F2C-41A1-87E8-22B0F5F058E1}" srcId="{E63ACFB1-B77F-4015-9BED-EC30BF08F771}" destId="{E46B0764-5BD0-4874-96A3-55F283CF28ED}" srcOrd="0" destOrd="0" parTransId="{B88FFC91-1F6F-4375-8676-72BE85B74A9B}" sibTransId="{0F6C585C-BEAF-403B-BAC3-5E6D53278BED}"/>
    <dgm:cxn modelId="{4B8D1D62-F4F8-4C0E-BAA7-450501CF9AFB}" type="presOf" srcId="{E46B0764-5BD0-4874-96A3-55F283CF28ED}" destId="{FB318694-7D13-4394-9999-743EFAEC9488}" srcOrd="0" destOrd="0" presId="urn:microsoft.com/office/officeart/2005/8/layout/hChevron3"/>
    <dgm:cxn modelId="{34992C3C-F624-4ACD-9191-F9A07D7C7C88}" type="presOf" srcId="{E63ACFB1-B77F-4015-9BED-EC30BF08F771}" destId="{42458090-426A-4F00-AD2D-8E2703041A28}" srcOrd="0" destOrd="0" presId="urn:microsoft.com/office/officeart/2005/8/layout/hChevron3"/>
    <dgm:cxn modelId="{C99668AB-3663-47FC-9BBC-F0632A42D80E}" type="presParOf" srcId="{42458090-426A-4F00-AD2D-8E2703041A28}" destId="{FB318694-7D13-4394-9999-743EFAEC9488}" srcOrd="0"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252B061F-DC74-4240-A22D-340AC33CDB23}" type="doc">
      <dgm:prSet loTypeId="urn:microsoft.com/office/officeart/2005/8/layout/arrow5" loCatId="process" qsTypeId="urn:microsoft.com/office/officeart/2005/8/quickstyle/simple1" qsCatId="simple" csTypeId="urn:microsoft.com/office/officeart/2005/8/colors/accent2_2" csCatId="accent2" phldr="1"/>
      <dgm:spPr/>
      <dgm:t>
        <a:bodyPr/>
        <a:lstStyle/>
        <a:p>
          <a:endParaRPr lang="it-IT"/>
        </a:p>
      </dgm:t>
    </dgm:pt>
    <dgm:pt modelId="{E3533255-2487-4939-A569-78B4AEF91D4F}">
      <dgm:prSet custT="1"/>
      <dgm:spPr/>
      <dgm:t>
        <a:bodyPr/>
        <a:lstStyle/>
        <a:p>
          <a:pPr algn="ctr" rtl="0"/>
          <a:r>
            <a:rPr lang="it-IT" sz="1400" b="1" dirty="0" smtClean="0">
              <a:effectLst>
                <a:outerShdw blurRad="38100" dist="38100" dir="2700000" algn="tl">
                  <a:srgbClr val="000000">
                    <a:alpha val="43137"/>
                  </a:srgbClr>
                </a:outerShdw>
              </a:effectLst>
            </a:rPr>
            <a:t> “</a:t>
          </a:r>
          <a:r>
            <a:rPr lang="it-IT" sz="1400" b="1" i="1" dirty="0" smtClean="0">
              <a:effectLst>
                <a:outerShdw blurRad="38100" dist="38100" dir="2700000" algn="tl">
                  <a:srgbClr val="000000">
                    <a:alpha val="43137"/>
                  </a:srgbClr>
                </a:outerShdw>
              </a:effectLst>
            </a:rPr>
            <a:t>mission </a:t>
          </a:r>
          <a:r>
            <a:rPr lang="it-IT" sz="1400" b="1" i="1" dirty="0" err="1" smtClean="0">
              <a:effectLst>
                <a:outerShdw blurRad="38100" dist="38100" dir="2700000" algn="tl">
                  <a:srgbClr val="000000">
                    <a:alpha val="43137"/>
                  </a:srgbClr>
                </a:outerShdw>
              </a:effectLst>
            </a:rPr>
            <a:t>oriented</a:t>
          </a:r>
          <a:r>
            <a:rPr lang="it-IT" sz="1400" b="1" dirty="0" smtClean="0">
              <a:effectLst>
                <a:outerShdw blurRad="38100" dist="38100" dir="2700000" algn="tl">
                  <a:srgbClr val="000000">
                    <a:alpha val="43137"/>
                  </a:srgbClr>
                </a:outerShdw>
              </a:effectLst>
            </a:rPr>
            <a:t>”</a:t>
          </a:r>
        </a:p>
      </dgm:t>
    </dgm:pt>
    <dgm:pt modelId="{E9969D0A-CDB0-4A59-BAAF-5BCC792EC7F5}" type="parTrans" cxnId="{FEBD9CE1-232E-4B6B-BCFC-F4C157473F17}">
      <dgm:prSet/>
      <dgm:spPr/>
      <dgm:t>
        <a:bodyPr/>
        <a:lstStyle/>
        <a:p>
          <a:endParaRPr lang="it-IT"/>
        </a:p>
      </dgm:t>
    </dgm:pt>
    <dgm:pt modelId="{1F2CE6AC-1A18-42D1-856B-F896BB37C72D}" type="sibTrans" cxnId="{FEBD9CE1-232E-4B6B-BCFC-F4C157473F17}">
      <dgm:prSet/>
      <dgm:spPr/>
      <dgm:t>
        <a:bodyPr/>
        <a:lstStyle/>
        <a:p>
          <a:endParaRPr lang="it-IT"/>
        </a:p>
      </dgm:t>
    </dgm:pt>
    <dgm:pt modelId="{303F95F6-F5B4-40BB-8507-7E1FAC1C1BC8}">
      <dgm:prSet custT="1"/>
      <dgm:spPr>
        <a:solidFill>
          <a:srgbClr val="00CC00"/>
        </a:solidFill>
      </dgm:spPr>
      <dgm:t>
        <a:bodyPr/>
        <a:lstStyle/>
        <a:p>
          <a:pPr algn="ctr" rtl="0"/>
          <a:r>
            <a:rPr lang="it-IT" sz="1400" b="1" dirty="0" smtClean="0">
              <a:effectLst>
                <a:outerShdw blurRad="38100" dist="38100" dir="2700000" algn="tl">
                  <a:srgbClr val="000000">
                    <a:alpha val="43137"/>
                  </a:srgbClr>
                </a:outerShdw>
              </a:effectLst>
            </a:rPr>
            <a:t>“</a:t>
          </a:r>
          <a:r>
            <a:rPr lang="it-IT" sz="1400" b="1" dirty="0" err="1" smtClean="0">
              <a:effectLst>
                <a:outerShdw blurRad="38100" dist="38100" dir="2700000" algn="tl">
                  <a:srgbClr val="000000">
                    <a:alpha val="43137"/>
                  </a:srgbClr>
                </a:outerShdw>
              </a:effectLst>
            </a:rPr>
            <a:t>diffusion</a:t>
          </a:r>
          <a:r>
            <a:rPr lang="it-IT" sz="1400" b="1" dirty="0" smtClean="0">
              <a:effectLst>
                <a:outerShdw blurRad="38100" dist="38100" dir="2700000" algn="tl">
                  <a:srgbClr val="000000">
                    <a:alpha val="43137"/>
                  </a:srgbClr>
                </a:outerShdw>
              </a:effectLst>
            </a:rPr>
            <a:t> </a:t>
          </a:r>
          <a:r>
            <a:rPr lang="it-IT" sz="1400" b="1" dirty="0" err="1" smtClean="0">
              <a:effectLst>
                <a:outerShdw blurRad="38100" dist="38100" dir="2700000" algn="tl">
                  <a:srgbClr val="000000">
                    <a:alpha val="43137"/>
                  </a:srgbClr>
                </a:outerShdw>
              </a:effectLst>
            </a:rPr>
            <a:t>oriented</a:t>
          </a:r>
          <a:r>
            <a:rPr lang="it-IT" sz="1400" b="1" dirty="0" smtClean="0">
              <a:effectLst>
                <a:outerShdw blurRad="38100" dist="38100" dir="2700000" algn="tl">
                  <a:srgbClr val="000000">
                    <a:alpha val="43137"/>
                  </a:srgbClr>
                </a:outerShdw>
              </a:effectLst>
            </a:rPr>
            <a:t>” </a:t>
          </a:r>
        </a:p>
      </dgm:t>
    </dgm:pt>
    <dgm:pt modelId="{36904EFC-AAA5-459F-9286-E893C56154D8}" type="parTrans" cxnId="{76B25262-B731-4339-AB89-7760519DD432}">
      <dgm:prSet/>
      <dgm:spPr/>
      <dgm:t>
        <a:bodyPr/>
        <a:lstStyle/>
        <a:p>
          <a:endParaRPr lang="it-IT"/>
        </a:p>
      </dgm:t>
    </dgm:pt>
    <dgm:pt modelId="{C7A8447A-1584-4E9F-AE0C-5D1D88E994A8}" type="sibTrans" cxnId="{76B25262-B731-4339-AB89-7760519DD432}">
      <dgm:prSet/>
      <dgm:spPr/>
      <dgm:t>
        <a:bodyPr/>
        <a:lstStyle/>
        <a:p>
          <a:endParaRPr lang="it-IT"/>
        </a:p>
      </dgm:t>
    </dgm:pt>
    <dgm:pt modelId="{B577C3AE-C2B3-4E15-8F77-7C00215FAFC2}" type="pres">
      <dgm:prSet presAssocID="{252B061F-DC74-4240-A22D-340AC33CDB23}" presName="diagram" presStyleCnt="0">
        <dgm:presLayoutVars>
          <dgm:dir/>
          <dgm:resizeHandles val="exact"/>
        </dgm:presLayoutVars>
      </dgm:prSet>
      <dgm:spPr/>
      <dgm:t>
        <a:bodyPr/>
        <a:lstStyle/>
        <a:p>
          <a:endParaRPr lang="it-IT"/>
        </a:p>
      </dgm:t>
    </dgm:pt>
    <dgm:pt modelId="{6711C825-4C01-4010-80E5-94DE88871CFE}" type="pres">
      <dgm:prSet presAssocID="{E3533255-2487-4939-A569-78B4AEF91D4F}" presName="arrow" presStyleLbl="node1" presStyleIdx="0" presStyleCnt="2" custScaleX="23337" custScaleY="100024" custRadScaleRad="106987" custRadScaleInc="5436">
        <dgm:presLayoutVars>
          <dgm:bulletEnabled val="1"/>
        </dgm:presLayoutVars>
      </dgm:prSet>
      <dgm:spPr/>
      <dgm:t>
        <a:bodyPr/>
        <a:lstStyle/>
        <a:p>
          <a:endParaRPr lang="it-IT"/>
        </a:p>
      </dgm:t>
    </dgm:pt>
    <dgm:pt modelId="{DBF43435-E534-4CA2-9BEB-93585D8D69F7}" type="pres">
      <dgm:prSet presAssocID="{303F95F6-F5B4-40BB-8507-7E1FAC1C1BC8}" presName="arrow" presStyleLbl="node1" presStyleIdx="1" presStyleCnt="2" custScaleX="24710" custScaleY="100024" custRadScaleRad="93679" custRadScaleInc="-6836">
        <dgm:presLayoutVars>
          <dgm:bulletEnabled val="1"/>
        </dgm:presLayoutVars>
      </dgm:prSet>
      <dgm:spPr/>
      <dgm:t>
        <a:bodyPr/>
        <a:lstStyle/>
        <a:p>
          <a:endParaRPr lang="it-IT"/>
        </a:p>
      </dgm:t>
    </dgm:pt>
  </dgm:ptLst>
  <dgm:cxnLst>
    <dgm:cxn modelId="{04F903BB-3168-4EE2-B120-08E8C2B61970}" type="presOf" srcId="{303F95F6-F5B4-40BB-8507-7E1FAC1C1BC8}" destId="{DBF43435-E534-4CA2-9BEB-93585D8D69F7}" srcOrd="0" destOrd="0" presId="urn:microsoft.com/office/officeart/2005/8/layout/arrow5"/>
    <dgm:cxn modelId="{A146F0A8-BA8A-4FE7-B8D3-16862DCF1FA8}" type="presOf" srcId="{252B061F-DC74-4240-A22D-340AC33CDB23}" destId="{B577C3AE-C2B3-4E15-8F77-7C00215FAFC2}" srcOrd="0" destOrd="0" presId="urn:microsoft.com/office/officeart/2005/8/layout/arrow5"/>
    <dgm:cxn modelId="{304D9630-8395-41DF-9786-CEB2FA2F5AB6}" type="presOf" srcId="{E3533255-2487-4939-A569-78B4AEF91D4F}" destId="{6711C825-4C01-4010-80E5-94DE88871CFE}" srcOrd="0" destOrd="0" presId="urn:microsoft.com/office/officeart/2005/8/layout/arrow5"/>
    <dgm:cxn modelId="{76B25262-B731-4339-AB89-7760519DD432}" srcId="{252B061F-DC74-4240-A22D-340AC33CDB23}" destId="{303F95F6-F5B4-40BB-8507-7E1FAC1C1BC8}" srcOrd="1" destOrd="0" parTransId="{36904EFC-AAA5-459F-9286-E893C56154D8}" sibTransId="{C7A8447A-1584-4E9F-AE0C-5D1D88E994A8}"/>
    <dgm:cxn modelId="{FEBD9CE1-232E-4B6B-BCFC-F4C157473F17}" srcId="{252B061F-DC74-4240-A22D-340AC33CDB23}" destId="{E3533255-2487-4939-A569-78B4AEF91D4F}" srcOrd="0" destOrd="0" parTransId="{E9969D0A-CDB0-4A59-BAAF-5BCC792EC7F5}" sibTransId="{1F2CE6AC-1A18-42D1-856B-F896BB37C72D}"/>
    <dgm:cxn modelId="{ADDFEA9B-781F-4CB3-85AB-A103ED78B4F2}" type="presParOf" srcId="{B577C3AE-C2B3-4E15-8F77-7C00215FAFC2}" destId="{6711C825-4C01-4010-80E5-94DE88871CFE}" srcOrd="0" destOrd="0" presId="urn:microsoft.com/office/officeart/2005/8/layout/arrow5"/>
    <dgm:cxn modelId="{C725F528-17F2-4D48-A4ED-79A40432F734}" type="presParOf" srcId="{B577C3AE-C2B3-4E15-8F77-7C00215FAFC2}" destId="{DBF43435-E534-4CA2-9BEB-93585D8D69F7}" srcOrd="1" destOrd="0" presId="urn:microsoft.com/office/officeart/2005/8/layout/arrow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custT="1"/>
      <dgm:spPr/>
      <dgm:t>
        <a:bodyPr/>
        <a:lstStyle/>
        <a:p>
          <a:pPr rtl="0"/>
          <a:r>
            <a:rPr lang="it-IT" sz="4000" b="1" dirty="0" smtClean="0">
              <a:solidFill>
                <a:schemeClr val="accent1">
                  <a:lumMod val="75000"/>
                </a:schemeClr>
              </a:solidFill>
            </a:rPr>
            <a:t>Perché siamo qui</a:t>
          </a:r>
          <a:endParaRPr lang="it-IT" sz="4000" b="1" dirty="0">
            <a:solidFill>
              <a:schemeClr val="accent1">
                <a:lumMod val="75000"/>
              </a:schemeClr>
            </a:solidFill>
          </a:endParaRPr>
        </a:p>
      </dgm:t>
    </dgm:pt>
    <dgm:pt modelId="{4AA17FDB-A052-4790-AE95-CF73ACE16E71}" type="parTrans" cxnId="{61C24A8C-0B83-4B1F-AD85-E5EDDAA1AC00}">
      <dgm:prSet/>
      <dgm:spPr/>
      <dgm:t>
        <a:bodyPr/>
        <a:lstStyle/>
        <a:p>
          <a:endParaRPr lang="it-IT" sz="4000"/>
        </a:p>
      </dgm:t>
    </dgm:pt>
    <dgm:pt modelId="{C167467F-04BA-4DE5-90F4-5BF53279866E}" type="sibTrans" cxnId="{61C24A8C-0B83-4B1F-AD85-E5EDDAA1AC00}">
      <dgm:prSet/>
      <dgm:spPr/>
      <dgm:t>
        <a:bodyPr/>
        <a:lstStyle/>
        <a:p>
          <a:endParaRPr lang="it-IT" sz="4000"/>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6E799A05-30E0-4F74-AB0D-C9B797874F43}" type="presOf" srcId="{37F295A9-2A2E-416D-9AE6-C3404377959E}" destId="{58FB0A67-F67A-40BA-890E-A840ED83B605}" srcOrd="0" destOrd="0" presId="urn:microsoft.com/office/officeart/2008/layout/LinedList"/>
    <dgm:cxn modelId="{3D0E10FF-1748-48A8-86BB-B744F91E4B98}" type="presOf" srcId="{2BF37BE0-F1C9-4327-8D6B-194C8F2CF94F}" destId="{7D920113-6D83-4974-923F-4CAA40CA2FDB}"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D314E68A-5845-4105-A90F-9E0247401C72}" type="presParOf" srcId="{58FB0A67-F67A-40BA-890E-A840ED83B605}" destId="{AB26EC88-0333-42E8-B340-C2B4FE18384A}" srcOrd="0" destOrd="0" presId="urn:microsoft.com/office/officeart/2008/layout/LinedList"/>
    <dgm:cxn modelId="{1BDEE6DA-58C9-496A-840F-0511C2BAB4EC}" type="presParOf" srcId="{58FB0A67-F67A-40BA-890E-A840ED83B605}" destId="{45792684-4DE0-4EDD-B49A-A40AB3BD4B9E}" srcOrd="1" destOrd="0" presId="urn:microsoft.com/office/officeart/2008/layout/LinedList"/>
    <dgm:cxn modelId="{64BA51DA-EFA9-44F1-94B8-EDEB936D17EF}" type="presParOf" srcId="{45792684-4DE0-4EDD-B49A-A40AB3BD4B9E}" destId="{7D920113-6D83-4974-923F-4CAA40CA2FDB}" srcOrd="0" destOrd="0" presId="urn:microsoft.com/office/officeart/2008/layout/LinedList"/>
    <dgm:cxn modelId="{AC4E50FC-0235-48B9-97F3-09364AF9447A}"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03CEE9D5-8004-4DC0-A475-3FC6F2F04938}" type="doc">
      <dgm:prSet loTypeId="urn:microsoft.com/office/officeart/2008/layout/SquareAccentList" loCatId="list" qsTypeId="urn:microsoft.com/office/officeart/2005/8/quickstyle/simple1" qsCatId="simple" csTypeId="urn:microsoft.com/office/officeart/2005/8/colors/colorful5" csCatId="colorful" phldr="1"/>
      <dgm:spPr/>
      <dgm:t>
        <a:bodyPr/>
        <a:lstStyle/>
        <a:p>
          <a:endParaRPr lang="it-IT"/>
        </a:p>
      </dgm:t>
    </dgm:pt>
    <dgm:pt modelId="{4CC1C72D-FAEB-4E4A-A770-DEBD56EC4F70}">
      <dgm:prSet custT="1"/>
      <dgm:spPr/>
      <dgm:t>
        <a:bodyPr/>
        <a:lstStyle/>
        <a:p>
          <a:pPr algn="just" rtl="0"/>
          <a:r>
            <a:rPr lang="it-IT" sz="1600" b="1" dirty="0" smtClean="0">
              <a:solidFill>
                <a:schemeClr val="accent6">
                  <a:lumMod val="75000"/>
                </a:schemeClr>
              </a:solidFill>
            </a:rPr>
            <a:t>finalizzati ad un diffuso innesto di innovazioni, anche non di natura tecnologica, nel sistema economico e sociale e rivolti ad un’ampia platea di beneficiari </a:t>
          </a:r>
        </a:p>
        <a:p>
          <a:pPr algn="just" rtl="0"/>
          <a:endParaRPr lang="it-IT" sz="1600" b="1" dirty="0"/>
        </a:p>
      </dgm:t>
    </dgm:pt>
    <dgm:pt modelId="{7CDBA97F-9E0D-42CF-ABF2-6C558E7D55BB}" type="parTrans" cxnId="{4E7279C9-7D89-4B78-9A67-8BEB919FFDD2}">
      <dgm:prSet/>
      <dgm:spPr/>
      <dgm:t>
        <a:bodyPr/>
        <a:lstStyle/>
        <a:p>
          <a:endParaRPr lang="it-IT"/>
        </a:p>
      </dgm:t>
    </dgm:pt>
    <dgm:pt modelId="{6FC16ED2-2882-4421-B49D-F8EB891847AF}" type="sibTrans" cxnId="{4E7279C9-7D89-4B78-9A67-8BEB919FFDD2}">
      <dgm:prSet/>
      <dgm:spPr/>
      <dgm:t>
        <a:bodyPr/>
        <a:lstStyle/>
        <a:p>
          <a:endParaRPr lang="it-IT"/>
        </a:p>
      </dgm:t>
    </dgm:pt>
    <dgm:pt modelId="{BE443D71-E9B1-4826-B945-B9AEF9E42B73}" type="pres">
      <dgm:prSet presAssocID="{03CEE9D5-8004-4DC0-A475-3FC6F2F04938}" presName="layout" presStyleCnt="0">
        <dgm:presLayoutVars>
          <dgm:chMax/>
          <dgm:chPref/>
          <dgm:dir/>
          <dgm:resizeHandles/>
        </dgm:presLayoutVars>
      </dgm:prSet>
      <dgm:spPr/>
      <dgm:t>
        <a:bodyPr/>
        <a:lstStyle/>
        <a:p>
          <a:endParaRPr lang="it-IT"/>
        </a:p>
      </dgm:t>
    </dgm:pt>
    <dgm:pt modelId="{0CD5EA9B-7E35-41AA-818A-950033BC2FED}" type="pres">
      <dgm:prSet presAssocID="{4CC1C72D-FAEB-4E4A-A770-DEBD56EC4F70}" presName="root" presStyleCnt="0">
        <dgm:presLayoutVars>
          <dgm:chMax/>
          <dgm:chPref/>
        </dgm:presLayoutVars>
      </dgm:prSet>
      <dgm:spPr/>
    </dgm:pt>
    <dgm:pt modelId="{DBF4ABFD-033D-425D-B852-1E74A50CB8C5}" type="pres">
      <dgm:prSet presAssocID="{4CC1C72D-FAEB-4E4A-A770-DEBD56EC4F70}" presName="rootComposite" presStyleCnt="0">
        <dgm:presLayoutVars/>
      </dgm:prSet>
      <dgm:spPr/>
    </dgm:pt>
    <dgm:pt modelId="{083E03EB-8615-4699-A45B-B57E780F0332}" type="pres">
      <dgm:prSet presAssocID="{4CC1C72D-FAEB-4E4A-A770-DEBD56EC4F70}" presName="ParentAccent" presStyleLbl="alignNode1" presStyleIdx="0" presStyleCnt="1"/>
      <dgm:spPr/>
    </dgm:pt>
    <dgm:pt modelId="{3B2C7311-6F60-41E3-801D-0A7CE5665F13}" type="pres">
      <dgm:prSet presAssocID="{4CC1C72D-FAEB-4E4A-A770-DEBD56EC4F70}" presName="ParentSmallAccent" presStyleLbl="fgAcc1" presStyleIdx="0" presStyleCnt="1"/>
      <dgm:spPr>
        <a:solidFill>
          <a:srgbClr val="33CC33">
            <a:alpha val="90000"/>
          </a:srgbClr>
        </a:solidFill>
      </dgm:spPr>
      <dgm:t>
        <a:bodyPr/>
        <a:lstStyle/>
        <a:p>
          <a:endParaRPr lang="it-IT"/>
        </a:p>
      </dgm:t>
    </dgm:pt>
    <dgm:pt modelId="{D3B3687A-029B-4B9E-A768-51742B3B318E}" type="pres">
      <dgm:prSet presAssocID="{4CC1C72D-FAEB-4E4A-A770-DEBD56EC4F70}" presName="Parent" presStyleLbl="revTx" presStyleIdx="0" presStyleCnt="1">
        <dgm:presLayoutVars>
          <dgm:chMax/>
          <dgm:chPref val="4"/>
          <dgm:bulletEnabled val="1"/>
        </dgm:presLayoutVars>
      </dgm:prSet>
      <dgm:spPr/>
      <dgm:t>
        <a:bodyPr/>
        <a:lstStyle/>
        <a:p>
          <a:endParaRPr lang="it-IT"/>
        </a:p>
      </dgm:t>
    </dgm:pt>
    <dgm:pt modelId="{CBC7B3CC-52C8-478E-9EDB-521E1034FD07}" type="pres">
      <dgm:prSet presAssocID="{4CC1C72D-FAEB-4E4A-A770-DEBD56EC4F70}" presName="childShape" presStyleCnt="0">
        <dgm:presLayoutVars>
          <dgm:chMax val="0"/>
          <dgm:chPref val="0"/>
        </dgm:presLayoutVars>
      </dgm:prSet>
      <dgm:spPr/>
    </dgm:pt>
  </dgm:ptLst>
  <dgm:cxnLst>
    <dgm:cxn modelId="{9B5ABAB7-80B4-4FA4-B0B9-CB6A6175A741}" type="presOf" srcId="{4CC1C72D-FAEB-4E4A-A770-DEBD56EC4F70}" destId="{D3B3687A-029B-4B9E-A768-51742B3B318E}" srcOrd="0" destOrd="0" presId="urn:microsoft.com/office/officeart/2008/layout/SquareAccentList"/>
    <dgm:cxn modelId="{4E7279C9-7D89-4B78-9A67-8BEB919FFDD2}" srcId="{03CEE9D5-8004-4DC0-A475-3FC6F2F04938}" destId="{4CC1C72D-FAEB-4E4A-A770-DEBD56EC4F70}" srcOrd="0" destOrd="0" parTransId="{7CDBA97F-9E0D-42CF-ABF2-6C558E7D55BB}" sibTransId="{6FC16ED2-2882-4421-B49D-F8EB891847AF}"/>
    <dgm:cxn modelId="{E45439BA-894C-4877-BFB8-E0C273609426}" type="presOf" srcId="{03CEE9D5-8004-4DC0-A475-3FC6F2F04938}" destId="{BE443D71-E9B1-4826-B945-B9AEF9E42B73}" srcOrd="0" destOrd="0" presId="urn:microsoft.com/office/officeart/2008/layout/SquareAccentList"/>
    <dgm:cxn modelId="{EDB81CCA-F82C-443D-AD34-124823ECBA6E}" type="presParOf" srcId="{BE443D71-E9B1-4826-B945-B9AEF9E42B73}" destId="{0CD5EA9B-7E35-41AA-818A-950033BC2FED}" srcOrd="0" destOrd="0" presId="urn:microsoft.com/office/officeart/2008/layout/SquareAccentList"/>
    <dgm:cxn modelId="{0BC10BFC-1BF2-4A5E-847C-44ED2F0E0A56}" type="presParOf" srcId="{0CD5EA9B-7E35-41AA-818A-950033BC2FED}" destId="{DBF4ABFD-033D-425D-B852-1E74A50CB8C5}" srcOrd="0" destOrd="0" presId="urn:microsoft.com/office/officeart/2008/layout/SquareAccentList"/>
    <dgm:cxn modelId="{01639323-1031-4F4E-B508-02315F3ACC78}" type="presParOf" srcId="{DBF4ABFD-033D-425D-B852-1E74A50CB8C5}" destId="{083E03EB-8615-4699-A45B-B57E780F0332}" srcOrd="0" destOrd="0" presId="urn:microsoft.com/office/officeart/2008/layout/SquareAccentList"/>
    <dgm:cxn modelId="{0E59984F-3F7D-47FD-B2F8-F7C807A2CEA4}" type="presParOf" srcId="{DBF4ABFD-033D-425D-B852-1E74A50CB8C5}" destId="{3B2C7311-6F60-41E3-801D-0A7CE5665F13}" srcOrd="1" destOrd="0" presId="urn:microsoft.com/office/officeart/2008/layout/SquareAccentList"/>
    <dgm:cxn modelId="{7C4C4DB0-D0C5-4666-B38C-DE4D3FAF3244}" type="presParOf" srcId="{DBF4ABFD-033D-425D-B852-1E74A50CB8C5}" destId="{D3B3687A-029B-4B9E-A768-51742B3B318E}" srcOrd="2" destOrd="0" presId="urn:microsoft.com/office/officeart/2008/layout/SquareAccentList"/>
    <dgm:cxn modelId="{2EA1A24B-8FFF-46A3-A95D-8C2C7C740CA6}" type="presParOf" srcId="{0CD5EA9B-7E35-41AA-818A-950033BC2FED}" destId="{CBC7B3CC-52C8-478E-9EDB-521E1034FD07}" srcOrd="1" destOrd="0" presId="urn:microsoft.com/office/officeart/2008/layout/SquareAccent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FBCF1CB5-D42E-4059-B1D0-BE44D4B17212}" type="doc">
      <dgm:prSet loTypeId="urn:microsoft.com/office/officeart/2008/layout/SquareAccentList" loCatId="list" qsTypeId="urn:microsoft.com/office/officeart/2005/8/quickstyle/simple1" qsCatId="simple" csTypeId="urn:microsoft.com/office/officeart/2005/8/colors/colorful2" csCatId="colorful" phldr="1"/>
      <dgm:spPr/>
      <dgm:t>
        <a:bodyPr/>
        <a:lstStyle/>
        <a:p>
          <a:endParaRPr lang="it-IT"/>
        </a:p>
      </dgm:t>
    </dgm:pt>
    <dgm:pt modelId="{C50E0AF5-3031-4EDA-B175-798CC21362AE}">
      <dgm:prSet/>
      <dgm:spPr/>
      <dgm:t>
        <a:bodyPr/>
        <a:lstStyle/>
        <a:p>
          <a:pPr algn="just" rtl="0"/>
          <a:r>
            <a:rPr lang="it-IT" b="1" dirty="0" smtClean="0">
              <a:solidFill>
                <a:schemeClr val="accent2"/>
              </a:solidFill>
            </a:rPr>
            <a:t>finalizzati al sostegno mirato a programmi ambiziosi di carattere strategico sotto il profilo dell’impatto sul contesto regionale</a:t>
          </a:r>
          <a:endParaRPr lang="it-IT" b="1" dirty="0">
            <a:solidFill>
              <a:schemeClr val="accent2"/>
            </a:solidFill>
          </a:endParaRPr>
        </a:p>
      </dgm:t>
    </dgm:pt>
    <dgm:pt modelId="{191394A3-EA3D-474E-AC1A-408ED8186BFF}" type="parTrans" cxnId="{1E78D72B-08D3-46BA-B7A0-3EA14F1018E1}">
      <dgm:prSet/>
      <dgm:spPr/>
      <dgm:t>
        <a:bodyPr/>
        <a:lstStyle/>
        <a:p>
          <a:endParaRPr lang="it-IT"/>
        </a:p>
      </dgm:t>
    </dgm:pt>
    <dgm:pt modelId="{79FD2D2A-7A21-4EBB-9F8F-63792777EDD4}" type="sibTrans" cxnId="{1E78D72B-08D3-46BA-B7A0-3EA14F1018E1}">
      <dgm:prSet/>
      <dgm:spPr/>
      <dgm:t>
        <a:bodyPr/>
        <a:lstStyle/>
        <a:p>
          <a:endParaRPr lang="it-IT"/>
        </a:p>
      </dgm:t>
    </dgm:pt>
    <dgm:pt modelId="{1BC6DDBE-EEA3-419A-B9D7-094F9E8B0E6A}" type="pres">
      <dgm:prSet presAssocID="{FBCF1CB5-D42E-4059-B1D0-BE44D4B17212}" presName="layout" presStyleCnt="0">
        <dgm:presLayoutVars>
          <dgm:chMax/>
          <dgm:chPref/>
          <dgm:dir/>
          <dgm:resizeHandles/>
        </dgm:presLayoutVars>
      </dgm:prSet>
      <dgm:spPr/>
      <dgm:t>
        <a:bodyPr/>
        <a:lstStyle/>
        <a:p>
          <a:endParaRPr lang="it-IT"/>
        </a:p>
      </dgm:t>
    </dgm:pt>
    <dgm:pt modelId="{C811D93E-2A42-4EBC-9230-FD8F17C1C8AC}" type="pres">
      <dgm:prSet presAssocID="{C50E0AF5-3031-4EDA-B175-798CC21362AE}" presName="root" presStyleCnt="0">
        <dgm:presLayoutVars>
          <dgm:chMax/>
          <dgm:chPref/>
        </dgm:presLayoutVars>
      </dgm:prSet>
      <dgm:spPr/>
    </dgm:pt>
    <dgm:pt modelId="{C91C54B4-1758-4214-B440-5B8C6FE421E7}" type="pres">
      <dgm:prSet presAssocID="{C50E0AF5-3031-4EDA-B175-798CC21362AE}" presName="rootComposite" presStyleCnt="0">
        <dgm:presLayoutVars/>
      </dgm:prSet>
      <dgm:spPr/>
    </dgm:pt>
    <dgm:pt modelId="{5F1D0415-9388-4E4F-9160-2793C0F671EE}" type="pres">
      <dgm:prSet presAssocID="{C50E0AF5-3031-4EDA-B175-798CC21362AE}" presName="ParentAccent" presStyleLbl="alignNode1" presStyleIdx="0" presStyleCnt="1"/>
      <dgm:spPr/>
    </dgm:pt>
    <dgm:pt modelId="{49E0879E-6F98-4834-B869-D3EE0F5BDB55}" type="pres">
      <dgm:prSet presAssocID="{C50E0AF5-3031-4EDA-B175-798CC21362AE}" presName="ParentSmallAccent" presStyleLbl="fgAcc1" presStyleIdx="0" presStyleCnt="1"/>
      <dgm:spPr>
        <a:solidFill>
          <a:schemeClr val="accent2">
            <a:alpha val="90000"/>
          </a:schemeClr>
        </a:solidFill>
      </dgm:spPr>
    </dgm:pt>
    <dgm:pt modelId="{83966723-4AA0-486E-A4AA-943FAAF5ED21}" type="pres">
      <dgm:prSet presAssocID="{C50E0AF5-3031-4EDA-B175-798CC21362AE}" presName="Parent" presStyleLbl="revTx" presStyleIdx="0" presStyleCnt="1">
        <dgm:presLayoutVars>
          <dgm:chMax/>
          <dgm:chPref val="4"/>
          <dgm:bulletEnabled val="1"/>
        </dgm:presLayoutVars>
      </dgm:prSet>
      <dgm:spPr/>
      <dgm:t>
        <a:bodyPr/>
        <a:lstStyle/>
        <a:p>
          <a:endParaRPr lang="it-IT"/>
        </a:p>
      </dgm:t>
    </dgm:pt>
    <dgm:pt modelId="{2F992286-5A4C-4907-87E5-3A9EFB506D24}" type="pres">
      <dgm:prSet presAssocID="{C50E0AF5-3031-4EDA-B175-798CC21362AE}" presName="childShape" presStyleCnt="0">
        <dgm:presLayoutVars>
          <dgm:chMax val="0"/>
          <dgm:chPref val="0"/>
        </dgm:presLayoutVars>
      </dgm:prSet>
      <dgm:spPr/>
    </dgm:pt>
  </dgm:ptLst>
  <dgm:cxnLst>
    <dgm:cxn modelId="{A4C99B43-5765-42C1-AFE9-51DDF5F345C3}" type="presOf" srcId="{C50E0AF5-3031-4EDA-B175-798CC21362AE}" destId="{83966723-4AA0-486E-A4AA-943FAAF5ED21}" srcOrd="0" destOrd="0" presId="urn:microsoft.com/office/officeart/2008/layout/SquareAccentList"/>
    <dgm:cxn modelId="{1E78D72B-08D3-46BA-B7A0-3EA14F1018E1}" srcId="{FBCF1CB5-D42E-4059-B1D0-BE44D4B17212}" destId="{C50E0AF5-3031-4EDA-B175-798CC21362AE}" srcOrd="0" destOrd="0" parTransId="{191394A3-EA3D-474E-AC1A-408ED8186BFF}" sibTransId="{79FD2D2A-7A21-4EBB-9F8F-63792777EDD4}"/>
    <dgm:cxn modelId="{6F8B03C7-039A-4018-813B-48913B36673C}" type="presOf" srcId="{FBCF1CB5-D42E-4059-B1D0-BE44D4B17212}" destId="{1BC6DDBE-EEA3-419A-B9D7-094F9E8B0E6A}" srcOrd="0" destOrd="0" presId="urn:microsoft.com/office/officeart/2008/layout/SquareAccentList"/>
    <dgm:cxn modelId="{5B149AFE-CEC3-4616-ADDA-1AB5CD0C9ACC}" type="presParOf" srcId="{1BC6DDBE-EEA3-419A-B9D7-094F9E8B0E6A}" destId="{C811D93E-2A42-4EBC-9230-FD8F17C1C8AC}" srcOrd="0" destOrd="0" presId="urn:microsoft.com/office/officeart/2008/layout/SquareAccentList"/>
    <dgm:cxn modelId="{90BDAADC-D4E4-481B-B8D0-3C95A98CDD1B}" type="presParOf" srcId="{C811D93E-2A42-4EBC-9230-FD8F17C1C8AC}" destId="{C91C54B4-1758-4214-B440-5B8C6FE421E7}" srcOrd="0" destOrd="0" presId="urn:microsoft.com/office/officeart/2008/layout/SquareAccentList"/>
    <dgm:cxn modelId="{00C01613-EC37-486E-BEE4-2B65D372851D}" type="presParOf" srcId="{C91C54B4-1758-4214-B440-5B8C6FE421E7}" destId="{5F1D0415-9388-4E4F-9160-2793C0F671EE}" srcOrd="0" destOrd="0" presId="urn:microsoft.com/office/officeart/2008/layout/SquareAccentList"/>
    <dgm:cxn modelId="{DE5594B1-3BE3-4212-ACDA-78890EC6F76D}" type="presParOf" srcId="{C91C54B4-1758-4214-B440-5B8C6FE421E7}" destId="{49E0879E-6F98-4834-B869-D3EE0F5BDB55}" srcOrd="1" destOrd="0" presId="urn:microsoft.com/office/officeart/2008/layout/SquareAccentList"/>
    <dgm:cxn modelId="{4FE271DE-2F53-4E42-A810-3F4D954F910D}" type="presParOf" srcId="{C91C54B4-1758-4214-B440-5B8C6FE421E7}" destId="{83966723-4AA0-486E-A4AA-943FAAF5ED21}" srcOrd="2" destOrd="0" presId="urn:microsoft.com/office/officeart/2008/layout/SquareAccentList"/>
    <dgm:cxn modelId="{8DF2F9D3-49F7-4310-87D5-C1675C57128B}" type="presParOf" srcId="{C811D93E-2A42-4EBC-9230-FD8F17C1C8AC}" destId="{2F992286-5A4C-4907-87E5-3A9EFB506D24}" srcOrd="1" destOrd="0" presId="urn:microsoft.com/office/officeart/2008/layout/SquareAccentLis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DD2A2349-D5E1-4B0B-BC4D-12DFD2A1F555}" type="doc">
      <dgm:prSet loTypeId="urn:microsoft.com/office/officeart/2005/8/layout/gear1" loCatId="relationship" qsTypeId="urn:microsoft.com/office/officeart/2005/8/quickstyle/simple1" qsCatId="simple" csTypeId="urn:microsoft.com/office/officeart/2005/8/colors/accent2_1" csCatId="accent2" phldr="1"/>
      <dgm:spPr/>
      <dgm:t>
        <a:bodyPr/>
        <a:lstStyle/>
        <a:p>
          <a:endParaRPr lang="it-IT"/>
        </a:p>
      </dgm:t>
    </dgm:pt>
    <dgm:pt modelId="{DB8CAAE3-2297-43B6-A573-85B61E9001B2}">
      <dgm:prSet custT="1"/>
      <dgm:spPr/>
      <dgm:t>
        <a:bodyPr/>
        <a:lstStyle/>
        <a:p>
          <a:pPr rtl="0"/>
          <a:r>
            <a:rPr lang="it-IT" sz="1200" b="1" dirty="0" smtClean="0">
              <a:solidFill>
                <a:schemeClr val="accent1">
                  <a:lumMod val="75000"/>
                </a:schemeClr>
              </a:solidFill>
              <a:effectLst>
                <a:outerShdw blurRad="38100" dist="38100" dir="2700000" algn="tl">
                  <a:srgbClr val="000000">
                    <a:alpha val="43137"/>
                  </a:srgbClr>
                </a:outerShdw>
              </a:effectLst>
              <a:latin typeface="Neo Sans Std Medium"/>
            </a:rPr>
            <a:t>OT 1 </a:t>
          </a:r>
          <a:endParaRPr lang="it-IT" sz="1200" b="1" dirty="0">
            <a:solidFill>
              <a:schemeClr val="accent1">
                <a:lumMod val="75000"/>
              </a:schemeClr>
            </a:solidFill>
            <a:effectLst>
              <a:outerShdw blurRad="38100" dist="38100" dir="2700000" algn="tl">
                <a:srgbClr val="000000">
                  <a:alpha val="43137"/>
                </a:srgbClr>
              </a:outerShdw>
            </a:effectLst>
            <a:latin typeface="Neo Sans Std Medium"/>
          </a:endParaRPr>
        </a:p>
      </dgm:t>
    </dgm:pt>
    <dgm:pt modelId="{2237D9B8-7080-493B-9788-0BF61F2516A0}" type="parTrans" cxnId="{44DDB8E2-0EF3-4633-BF2B-E93BCCBAFA89}">
      <dgm:prSet/>
      <dgm:spPr/>
      <dgm:t>
        <a:bodyPr/>
        <a:lstStyle/>
        <a:p>
          <a:endParaRPr lang="it-IT"/>
        </a:p>
      </dgm:t>
    </dgm:pt>
    <dgm:pt modelId="{D388EEC3-03C3-47A8-890B-2496F9CBA67B}" type="sibTrans" cxnId="{44DDB8E2-0EF3-4633-BF2B-E93BCCBAFA89}">
      <dgm:prSet/>
      <dgm:spPr/>
      <dgm:t>
        <a:bodyPr/>
        <a:lstStyle/>
        <a:p>
          <a:endParaRPr lang="it-IT"/>
        </a:p>
      </dgm:t>
    </dgm:pt>
    <dgm:pt modelId="{83267C61-1508-43DC-B21B-6C4CC85B645F}">
      <dgm:prSet custT="1"/>
      <dgm:spPr/>
      <dgm:t>
        <a:bodyPr/>
        <a:lstStyle/>
        <a:p>
          <a:pPr rtl="0"/>
          <a:r>
            <a:rPr lang="it-IT" sz="1200" b="1" dirty="0" smtClean="0">
              <a:solidFill>
                <a:schemeClr val="accent1">
                  <a:lumMod val="75000"/>
                </a:schemeClr>
              </a:solidFill>
              <a:effectLst>
                <a:outerShdw blurRad="38100" dist="38100" dir="2700000" algn="tl">
                  <a:srgbClr val="000000">
                    <a:alpha val="43137"/>
                  </a:srgbClr>
                </a:outerShdw>
              </a:effectLst>
              <a:latin typeface="Neo Sans Std Medium"/>
            </a:rPr>
            <a:t>OT 2</a:t>
          </a:r>
          <a:endParaRPr lang="it-IT" sz="1200" b="1" dirty="0">
            <a:solidFill>
              <a:schemeClr val="accent1">
                <a:lumMod val="75000"/>
              </a:schemeClr>
            </a:solidFill>
            <a:effectLst>
              <a:outerShdw blurRad="38100" dist="38100" dir="2700000" algn="tl">
                <a:srgbClr val="000000">
                  <a:alpha val="43137"/>
                </a:srgbClr>
              </a:outerShdw>
            </a:effectLst>
            <a:latin typeface="Neo Sans Std Medium"/>
          </a:endParaRPr>
        </a:p>
      </dgm:t>
    </dgm:pt>
    <dgm:pt modelId="{68B8E43C-2B2E-4FE0-AE78-B902D4E2AAF2}" type="parTrans" cxnId="{073B4C41-417B-4F58-A495-297D90913EA8}">
      <dgm:prSet/>
      <dgm:spPr/>
      <dgm:t>
        <a:bodyPr/>
        <a:lstStyle/>
        <a:p>
          <a:endParaRPr lang="it-IT"/>
        </a:p>
      </dgm:t>
    </dgm:pt>
    <dgm:pt modelId="{4E4C1904-5B45-41CD-B782-D4F6DF3319A5}" type="sibTrans" cxnId="{073B4C41-417B-4F58-A495-297D90913EA8}">
      <dgm:prSet/>
      <dgm:spPr/>
      <dgm:t>
        <a:bodyPr/>
        <a:lstStyle/>
        <a:p>
          <a:endParaRPr lang="it-IT"/>
        </a:p>
      </dgm:t>
    </dgm:pt>
    <dgm:pt modelId="{04CEFBD9-3179-4291-917F-D814B58269B2}" type="pres">
      <dgm:prSet presAssocID="{DD2A2349-D5E1-4B0B-BC4D-12DFD2A1F555}" presName="composite" presStyleCnt="0">
        <dgm:presLayoutVars>
          <dgm:chMax val="3"/>
          <dgm:animLvl val="lvl"/>
          <dgm:resizeHandles val="exact"/>
        </dgm:presLayoutVars>
      </dgm:prSet>
      <dgm:spPr/>
      <dgm:t>
        <a:bodyPr/>
        <a:lstStyle/>
        <a:p>
          <a:endParaRPr lang="it-IT"/>
        </a:p>
      </dgm:t>
    </dgm:pt>
    <dgm:pt modelId="{2EE2CEB5-124D-44F5-9096-E7ECAF2F2101}" type="pres">
      <dgm:prSet presAssocID="{DB8CAAE3-2297-43B6-A573-85B61E9001B2}" presName="gear1" presStyleLbl="node1" presStyleIdx="0" presStyleCnt="2" custLinFactNeighborX="63389" custLinFactNeighborY="-17272">
        <dgm:presLayoutVars>
          <dgm:chMax val="1"/>
          <dgm:bulletEnabled val="1"/>
        </dgm:presLayoutVars>
      </dgm:prSet>
      <dgm:spPr/>
      <dgm:t>
        <a:bodyPr/>
        <a:lstStyle/>
        <a:p>
          <a:endParaRPr lang="it-IT"/>
        </a:p>
      </dgm:t>
    </dgm:pt>
    <dgm:pt modelId="{3115EADC-B8B2-4B58-B882-7BA79A4C3E8C}" type="pres">
      <dgm:prSet presAssocID="{DB8CAAE3-2297-43B6-A573-85B61E9001B2}" presName="gear1srcNode" presStyleLbl="node1" presStyleIdx="0" presStyleCnt="2"/>
      <dgm:spPr/>
      <dgm:t>
        <a:bodyPr/>
        <a:lstStyle/>
        <a:p>
          <a:endParaRPr lang="it-IT"/>
        </a:p>
      </dgm:t>
    </dgm:pt>
    <dgm:pt modelId="{128F0A60-3FF4-4381-B2EE-759ED4374620}" type="pres">
      <dgm:prSet presAssocID="{DB8CAAE3-2297-43B6-A573-85B61E9001B2}" presName="gear1dstNode" presStyleLbl="node1" presStyleIdx="0" presStyleCnt="2"/>
      <dgm:spPr/>
      <dgm:t>
        <a:bodyPr/>
        <a:lstStyle/>
        <a:p>
          <a:endParaRPr lang="it-IT"/>
        </a:p>
      </dgm:t>
    </dgm:pt>
    <dgm:pt modelId="{48AC5F59-43C7-463B-9C6A-CEA2081E1C1C}" type="pres">
      <dgm:prSet presAssocID="{83267C61-1508-43DC-B21B-6C4CC85B645F}" presName="gear2" presStyleLbl="node1" presStyleIdx="1" presStyleCnt="2" custLinFactNeighborX="80598" custLinFactNeighborY="56111">
        <dgm:presLayoutVars>
          <dgm:chMax val="1"/>
          <dgm:bulletEnabled val="1"/>
        </dgm:presLayoutVars>
      </dgm:prSet>
      <dgm:spPr/>
      <dgm:t>
        <a:bodyPr/>
        <a:lstStyle/>
        <a:p>
          <a:endParaRPr lang="it-IT"/>
        </a:p>
      </dgm:t>
    </dgm:pt>
    <dgm:pt modelId="{A805CD41-67EA-4513-9E61-A8C3D66DFD07}" type="pres">
      <dgm:prSet presAssocID="{83267C61-1508-43DC-B21B-6C4CC85B645F}" presName="gear2srcNode" presStyleLbl="node1" presStyleIdx="1" presStyleCnt="2"/>
      <dgm:spPr/>
      <dgm:t>
        <a:bodyPr/>
        <a:lstStyle/>
        <a:p>
          <a:endParaRPr lang="it-IT"/>
        </a:p>
      </dgm:t>
    </dgm:pt>
    <dgm:pt modelId="{F2B40673-4C71-4A98-9339-977C54C5A9D5}" type="pres">
      <dgm:prSet presAssocID="{83267C61-1508-43DC-B21B-6C4CC85B645F}" presName="gear2dstNode" presStyleLbl="node1" presStyleIdx="1" presStyleCnt="2"/>
      <dgm:spPr/>
      <dgm:t>
        <a:bodyPr/>
        <a:lstStyle/>
        <a:p>
          <a:endParaRPr lang="it-IT"/>
        </a:p>
      </dgm:t>
    </dgm:pt>
    <dgm:pt modelId="{9C58820E-B88E-42EC-B94E-53580DE862F7}" type="pres">
      <dgm:prSet presAssocID="{D388EEC3-03C3-47A8-890B-2496F9CBA67B}" presName="connector1" presStyleLbl="sibTrans2D1" presStyleIdx="0" presStyleCnt="2" custLinFactNeighborX="51535" custLinFactNeighborY="-14042"/>
      <dgm:spPr/>
      <dgm:t>
        <a:bodyPr/>
        <a:lstStyle/>
        <a:p>
          <a:endParaRPr lang="it-IT"/>
        </a:p>
      </dgm:t>
    </dgm:pt>
    <dgm:pt modelId="{271AF710-52C6-4140-9C37-87300CDE1B1A}" type="pres">
      <dgm:prSet presAssocID="{4E4C1904-5B45-41CD-B782-D4F6DF3319A5}" presName="connector2" presStyleLbl="sibTrans2D1" presStyleIdx="1" presStyleCnt="2" custLinFactNeighborX="62397" custLinFactNeighborY="52971"/>
      <dgm:spPr/>
      <dgm:t>
        <a:bodyPr/>
        <a:lstStyle/>
        <a:p>
          <a:endParaRPr lang="it-IT"/>
        </a:p>
      </dgm:t>
    </dgm:pt>
  </dgm:ptLst>
  <dgm:cxnLst>
    <dgm:cxn modelId="{597179B9-7F1B-46ED-B2D1-2C515046ADD4}" type="presOf" srcId="{DD2A2349-D5E1-4B0B-BC4D-12DFD2A1F555}" destId="{04CEFBD9-3179-4291-917F-D814B58269B2}" srcOrd="0" destOrd="0" presId="urn:microsoft.com/office/officeart/2005/8/layout/gear1"/>
    <dgm:cxn modelId="{67308B8E-D0E7-40D8-985D-E62C9CA259E4}" type="presOf" srcId="{DB8CAAE3-2297-43B6-A573-85B61E9001B2}" destId="{128F0A60-3FF4-4381-B2EE-759ED4374620}" srcOrd="2" destOrd="0" presId="urn:microsoft.com/office/officeart/2005/8/layout/gear1"/>
    <dgm:cxn modelId="{A0A165C0-473F-49DB-B23C-D3BBD6859E4C}" type="presOf" srcId="{83267C61-1508-43DC-B21B-6C4CC85B645F}" destId="{F2B40673-4C71-4A98-9339-977C54C5A9D5}" srcOrd="2" destOrd="0" presId="urn:microsoft.com/office/officeart/2005/8/layout/gear1"/>
    <dgm:cxn modelId="{44DDB8E2-0EF3-4633-BF2B-E93BCCBAFA89}" srcId="{DD2A2349-D5E1-4B0B-BC4D-12DFD2A1F555}" destId="{DB8CAAE3-2297-43B6-A573-85B61E9001B2}" srcOrd="0" destOrd="0" parTransId="{2237D9B8-7080-493B-9788-0BF61F2516A0}" sibTransId="{D388EEC3-03C3-47A8-890B-2496F9CBA67B}"/>
    <dgm:cxn modelId="{9F1D8EB8-D5BA-4510-B5DB-5EF64E525B75}" type="presOf" srcId="{83267C61-1508-43DC-B21B-6C4CC85B645F}" destId="{A805CD41-67EA-4513-9E61-A8C3D66DFD07}" srcOrd="1" destOrd="0" presId="urn:microsoft.com/office/officeart/2005/8/layout/gear1"/>
    <dgm:cxn modelId="{86E7DDCD-5401-465B-A81E-8EAFA379E5FB}" type="presOf" srcId="{4E4C1904-5B45-41CD-B782-D4F6DF3319A5}" destId="{271AF710-52C6-4140-9C37-87300CDE1B1A}" srcOrd="0" destOrd="0" presId="urn:microsoft.com/office/officeart/2005/8/layout/gear1"/>
    <dgm:cxn modelId="{1488E041-9A50-428E-834B-433223A48BA8}" type="presOf" srcId="{DB8CAAE3-2297-43B6-A573-85B61E9001B2}" destId="{3115EADC-B8B2-4B58-B882-7BA79A4C3E8C}" srcOrd="1" destOrd="0" presId="urn:microsoft.com/office/officeart/2005/8/layout/gear1"/>
    <dgm:cxn modelId="{5AB7EA9A-263E-466E-B980-8FDFC61F5995}" type="presOf" srcId="{DB8CAAE3-2297-43B6-A573-85B61E9001B2}" destId="{2EE2CEB5-124D-44F5-9096-E7ECAF2F2101}" srcOrd="0" destOrd="0" presId="urn:microsoft.com/office/officeart/2005/8/layout/gear1"/>
    <dgm:cxn modelId="{073B4C41-417B-4F58-A495-297D90913EA8}" srcId="{DD2A2349-D5E1-4B0B-BC4D-12DFD2A1F555}" destId="{83267C61-1508-43DC-B21B-6C4CC85B645F}" srcOrd="1" destOrd="0" parTransId="{68B8E43C-2B2E-4FE0-AE78-B902D4E2AAF2}" sibTransId="{4E4C1904-5B45-41CD-B782-D4F6DF3319A5}"/>
    <dgm:cxn modelId="{D1E948D2-A405-49AC-BFD0-6FFBD4972755}" type="presOf" srcId="{83267C61-1508-43DC-B21B-6C4CC85B645F}" destId="{48AC5F59-43C7-463B-9C6A-CEA2081E1C1C}" srcOrd="0" destOrd="0" presId="urn:microsoft.com/office/officeart/2005/8/layout/gear1"/>
    <dgm:cxn modelId="{7369FF58-EF17-4403-8C07-9D3A46D0879D}" type="presOf" srcId="{D388EEC3-03C3-47A8-890B-2496F9CBA67B}" destId="{9C58820E-B88E-42EC-B94E-53580DE862F7}" srcOrd="0" destOrd="0" presId="urn:microsoft.com/office/officeart/2005/8/layout/gear1"/>
    <dgm:cxn modelId="{509ED5E4-A2FA-41A8-ACA1-D7F31C1E8A5F}" type="presParOf" srcId="{04CEFBD9-3179-4291-917F-D814B58269B2}" destId="{2EE2CEB5-124D-44F5-9096-E7ECAF2F2101}" srcOrd="0" destOrd="0" presId="urn:microsoft.com/office/officeart/2005/8/layout/gear1"/>
    <dgm:cxn modelId="{3D3AD359-4D4E-47E2-8911-5B147BD87BE7}" type="presParOf" srcId="{04CEFBD9-3179-4291-917F-D814B58269B2}" destId="{3115EADC-B8B2-4B58-B882-7BA79A4C3E8C}" srcOrd="1" destOrd="0" presId="urn:microsoft.com/office/officeart/2005/8/layout/gear1"/>
    <dgm:cxn modelId="{4D4A3489-13FA-4559-B6DD-31B13BF389D0}" type="presParOf" srcId="{04CEFBD9-3179-4291-917F-D814B58269B2}" destId="{128F0A60-3FF4-4381-B2EE-759ED4374620}" srcOrd="2" destOrd="0" presId="urn:microsoft.com/office/officeart/2005/8/layout/gear1"/>
    <dgm:cxn modelId="{1D730B5E-CAF2-436F-8195-1083075C3A7D}" type="presParOf" srcId="{04CEFBD9-3179-4291-917F-D814B58269B2}" destId="{48AC5F59-43C7-463B-9C6A-CEA2081E1C1C}" srcOrd="3" destOrd="0" presId="urn:microsoft.com/office/officeart/2005/8/layout/gear1"/>
    <dgm:cxn modelId="{32277BB3-8A88-42FB-A444-CE0B7491AF3C}" type="presParOf" srcId="{04CEFBD9-3179-4291-917F-D814B58269B2}" destId="{A805CD41-67EA-4513-9E61-A8C3D66DFD07}" srcOrd="4" destOrd="0" presId="urn:microsoft.com/office/officeart/2005/8/layout/gear1"/>
    <dgm:cxn modelId="{C008302D-13E3-4E51-9EEA-3025306E12FC}" type="presParOf" srcId="{04CEFBD9-3179-4291-917F-D814B58269B2}" destId="{F2B40673-4C71-4A98-9339-977C54C5A9D5}" srcOrd="5" destOrd="0" presId="urn:microsoft.com/office/officeart/2005/8/layout/gear1"/>
    <dgm:cxn modelId="{68675F6C-F364-4F3E-9C59-BE8099C55AB2}" type="presParOf" srcId="{04CEFBD9-3179-4291-917F-D814B58269B2}" destId="{9C58820E-B88E-42EC-B94E-53580DE862F7}" srcOrd="6" destOrd="0" presId="urn:microsoft.com/office/officeart/2005/8/layout/gear1"/>
    <dgm:cxn modelId="{C0EDE811-84D6-46EA-B58A-A3A5A96085B7}" type="presParOf" srcId="{04CEFBD9-3179-4291-917F-D814B58269B2}" destId="{271AF710-52C6-4140-9C37-87300CDE1B1A}" srcOrd="7" destOrd="0" presId="urn:microsoft.com/office/officeart/2005/8/layout/gear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DD2A2349-D5E1-4B0B-BC4D-12DFD2A1F555}" type="doc">
      <dgm:prSet loTypeId="urn:microsoft.com/office/officeart/2005/8/layout/gear1" loCatId="relationship" qsTypeId="urn:microsoft.com/office/officeart/2005/8/quickstyle/simple1" qsCatId="simple" csTypeId="urn:microsoft.com/office/officeart/2005/8/colors/accent2_1" csCatId="accent2" phldr="1"/>
      <dgm:spPr/>
      <dgm:t>
        <a:bodyPr/>
        <a:lstStyle/>
        <a:p>
          <a:endParaRPr lang="it-IT"/>
        </a:p>
      </dgm:t>
    </dgm:pt>
    <dgm:pt modelId="{DB8CAAE3-2297-43B6-A573-85B61E9001B2}">
      <dgm:prSet custT="1"/>
      <dgm:spPr/>
      <dgm:t>
        <a:bodyPr/>
        <a:lstStyle/>
        <a:p>
          <a:pPr rtl="0"/>
          <a:r>
            <a:rPr lang="it-IT" sz="1200" b="1" dirty="0" smtClean="0">
              <a:solidFill>
                <a:schemeClr val="accent1">
                  <a:lumMod val="75000"/>
                </a:schemeClr>
              </a:solidFill>
              <a:effectLst>
                <a:outerShdw blurRad="38100" dist="38100" dir="2700000" algn="tl">
                  <a:srgbClr val="000000">
                    <a:alpha val="43137"/>
                  </a:srgbClr>
                </a:outerShdw>
              </a:effectLst>
              <a:latin typeface="Neo Sans Std Medium"/>
            </a:rPr>
            <a:t>OT 1 </a:t>
          </a:r>
          <a:endParaRPr lang="it-IT" sz="1200" b="1" dirty="0">
            <a:solidFill>
              <a:schemeClr val="accent1">
                <a:lumMod val="75000"/>
              </a:schemeClr>
            </a:solidFill>
            <a:effectLst>
              <a:outerShdw blurRad="38100" dist="38100" dir="2700000" algn="tl">
                <a:srgbClr val="000000">
                  <a:alpha val="43137"/>
                </a:srgbClr>
              </a:outerShdw>
            </a:effectLst>
            <a:latin typeface="Neo Sans Std Medium"/>
          </a:endParaRPr>
        </a:p>
      </dgm:t>
    </dgm:pt>
    <dgm:pt modelId="{2237D9B8-7080-493B-9788-0BF61F2516A0}" type="parTrans" cxnId="{44DDB8E2-0EF3-4633-BF2B-E93BCCBAFA89}">
      <dgm:prSet/>
      <dgm:spPr/>
      <dgm:t>
        <a:bodyPr/>
        <a:lstStyle/>
        <a:p>
          <a:endParaRPr lang="it-IT"/>
        </a:p>
      </dgm:t>
    </dgm:pt>
    <dgm:pt modelId="{D388EEC3-03C3-47A8-890B-2496F9CBA67B}" type="sibTrans" cxnId="{44DDB8E2-0EF3-4633-BF2B-E93BCCBAFA89}">
      <dgm:prSet/>
      <dgm:spPr/>
      <dgm:t>
        <a:bodyPr/>
        <a:lstStyle/>
        <a:p>
          <a:endParaRPr lang="it-IT"/>
        </a:p>
      </dgm:t>
    </dgm:pt>
    <dgm:pt modelId="{83267C61-1508-43DC-B21B-6C4CC85B645F}">
      <dgm:prSet custT="1"/>
      <dgm:spPr/>
      <dgm:t>
        <a:bodyPr/>
        <a:lstStyle/>
        <a:p>
          <a:pPr rtl="0"/>
          <a:r>
            <a:rPr lang="it-IT" sz="1200" b="1" dirty="0" smtClean="0">
              <a:solidFill>
                <a:schemeClr val="accent1">
                  <a:lumMod val="75000"/>
                </a:schemeClr>
              </a:solidFill>
              <a:effectLst>
                <a:outerShdw blurRad="38100" dist="38100" dir="2700000" algn="tl">
                  <a:srgbClr val="000000">
                    <a:alpha val="43137"/>
                  </a:srgbClr>
                </a:outerShdw>
              </a:effectLst>
              <a:latin typeface="Neo Sans Std Medium"/>
            </a:rPr>
            <a:t>OT 2</a:t>
          </a:r>
          <a:endParaRPr lang="it-IT" sz="1200" b="1" dirty="0">
            <a:solidFill>
              <a:schemeClr val="accent1">
                <a:lumMod val="75000"/>
              </a:schemeClr>
            </a:solidFill>
            <a:effectLst>
              <a:outerShdw blurRad="38100" dist="38100" dir="2700000" algn="tl">
                <a:srgbClr val="000000">
                  <a:alpha val="43137"/>
                </a:srgbClr>
              </a:outerShdw>
            </a:effectLst>
            <a:latin typeface="Neo Sans Std Medium"/>
          </a:endParaRPr>
        </a:p>
      </dgm:t>
    </dgm:pt>
    <dgm:pt modelId="{68B8E43C-2B2E-4FE0-AE78-B902D4E2AAF2}" type="parTrans" cxnId="{073B4C41-417B-4F58-A495-297D90913EA8}">
      <dgm:prSet/>
      <dgm:spPr/>
      <dgm:t>
        <a:bodyPr/>
        <a:lstStyle/>
        <a:p>
          <a:endParaRPr lang="it-IT"/>
        </a:p>
      </dgm:t>
    </dgm:pt>
    <dgm:pt modelId="{4E4C1904-5B45-41CD-B782-D4F6DF3319A5}" type="sibTrans" cxnId="{073B4C41-417B-4F58-A495-297D90913EA8}">
      <dgm:prSet/>
      <dgm:spPr/>
      <dgm:t>
        <a:bodyPr/>
        <a:lstStyle/>
        <a:p>
          <a:endParaRPr lang="it-IT"/>
        </a:p>
      </dgm:t>
    </dgm:pt>
    <dgm:pt modelId="{04CEFBD9-3179-4291-917F-D814B58269B2}" type="pres">
      <dgm:prSet presAssocID="{DD2A2349-D5E1-4B0B-BC4D-12DFD2A1F555}" presName="composite" presStyleCnt="0">
        <dgm:presLayoutVars>
          <dgm:chMax val="3"/>
          <dgm:animLvl val="lvl"/>
          <dgm:resizeHandles val="exact"/>
        </dgm:presLayoutVars>
      </dgm:prSet>
      <dgm:spPr/>
      <dgm:t>
        <a:bodyPr/>
        <a:lstStyle/>
        <a:p>
          <a:endParaRPr lang="it-IT"/>
        </a:p>
      </dgm:t>
    </dgm:pt>
    <dgm:pt modelId="{2EE2CEB5-124D-44F5-9096-E7ECAF2F2101}" type="pres">
      <dgm:prSet presAssocID="{DB8CAAE3-2297-43B6-A573-85B61E9001B2}" presName="gear1" presStyleLbl="node1" presStyleIdx="0" presStyleCnt="2" custLinFactNeighborX="63389" custLinFactNeighborY="-17272">
        <dgm:presLayoutVars>
          <dgm:chMax val="1"/>
          <dgm:bulletEnabled val="1"/>
        </dgm:presLayoutVars>
      </dgm:prSet>
      <dgm:spPr/>
      <dgm:t>
        <a:bodyPr/>
        <a:lstStyle/>
        <a:p>
          <a:endParaRPr lang="it-IT"/>
        </a:p>
      </dgm:t>
    </dgm:pt>
    <dgm:pt modelId="{3115EADC-B8B2-4B58-B882-7BA79A4C3E8C}" type="pres">
      <dgm:prSet presAssocID="{DB8CAAE3-2297-43B6-A573-85B61E9001B2}" presName="gear1srcNode" presStyleLbl="node1" presStyleIdx="0" presStyleCnt="2"/>
      <dgm:spPr/>
      <dgm:t>
        <a:bodyPr/>
        <a:lstStyle/>
        <a:p>
          <a:endParaRPr lang="it-IT"/>
        </a:p>
      </dgm:t>
    </dgm:pt>
    <dgm:pt modelId="{128F0A60-3FF4-4381-B2EE-759ED4374620}" type="pres">
      <dgm:prSet presAssocID="{DB8CAAE3-2297-43B6-A573-85B61E9001B2}" presName="gear1dstNode" presStyleLbl="node1" presStyleIdx="0" presStyleCnt="2"/>
      <dgm:spPr/>
      <dgm:t>
        <a:bodyPr/>
        <a:lstStyle/>
        <a:p>
          <a:endParaRPr lang="it-IT"/>
        </a:p>
      </dgm:t>
    </dgm:pt>
    <dgm:pt modelId="{48AC5F59-43C7-463B-9C6A-CEA2081E1C1C}" type="pres">
      <dgm:prSet presAssocID="{83267C61-1508-43DC-B21B-6C4CC85B645F}" presName="gear2" presStyleLbl="node1" presStyleIdx="1" presStyleCnt="2" custLinFactNeighborX="80598" custLinFactNeighborY="56111">
        <dgm:presLayoutVars>
          <dgm:chMax val="1"/>
          <dgm:bulletEnabled val="1"/>
        </dgm:presLayoutVars>
      </dgm:prSet>
      <dgm:spPr/>
      <dgm:t>
        <a:bodyPr/>
        <a:lstStyle/>
        <a:p>
          <a:endParaRPr lang="it-IT"/>
        </a:p>
      </dgm:t>
    </dgm:pt>
    <dgm:pt modelId="{A805CD41-67EA-4513-9E61-A8C3D66DFD07}" type="pres">
      <dgm:prSet presAssocID="{83267C61-1508-43DC-B21B-6C4CC85B645F}" presName="gear2srcNode" presStyleLbl="node1" presStyleIdx="1" presStyleCnt="2"/>
      <dgm:spPr/>
      <dgm:t>
        <a:bodyPr/>
        <a:lstStyle/>
        <a:p>
          <a:endParaRPr lang="it-IT"/>
        </a:p>
      </dgm:t>
    </dgm:pt>
    <dgm:pt modelId="{F2B40673-4C71-4A98-9339-977C54C5A9D5}" type="pres">
      <dgm:prSet presAssocID="{83267C61-1508-43DC-B21B-6C4CC85B645F}" presName="gear2dstNode" presStyleLbl="node1" presStyleIdx="1" presStyleCnt="2"/>
      <dgm:spPr/>
      <dgm:t>
        <a:bodyPr/>
        <a:lstStyle/>
        <a:p>
          <a:endParaRPr lang="it-IT"/>
        </a:p>
      </dgm:t>
    </dgm:pt>
    <dgm:pt modelId="{9C58820E-B88E-42EC-B94E-53580DE862F7}" type="pres">
      <dgm:prSet presAssocID="{D388EEC3-03C3-47A8-890B-2496F9CBA67B}" presName="connector1" presStyleLbl="sibTrans2D1" presStyleIdx="0" presStyleCnt="2" custLinFactNeighborX="51535" custLinFactNeighborY="-14042"/>
      <dgm:spPr/>
      <dgm:t>
        <a:bodyPr/>
        <a:lstStyle/>
        <a:p>
          <a:endParaRPr lang="it-IT"/>
        </a:p>
      </dgm:t>
    </dgm:pt>
    <dgm:pt modelId="{271AF710-52C6-4140-9C37-87300CDE1B1A}" type="pres">
      <dgm:prSet presAssocID="{4E4C1904-5B45-41CD-B782-D4F6DF3319A5}" presName="connector2" presStyleLbl="sibTrans2D1" presStyleIdx="1" presStyleCnt="2" custLinFactNeighborX="62397" custLinFactNeighborY="52971"/>
      <dgm:spPr/>
      <dgm:t>
        <a:bodyPr/>
        <a:lstStyle/>
        <a:p>
          <a:endParaRPr lang="it-IT"/>
        </a:p>
      </dgm:t>
    </dgm:pt>
  </dgm:ptLst>
  <dgm:cxnLst>
    <dgm:cxn modelId="{C3590309-BF05-4256-86D4-E821834EABA1}" type="presOf" srcId="{DD2A2349-D5E1-4B0B-BC4D-12DFD2A1F555}" destId="{04CEFBD9-3179-4291-917F-D814B58269B2}" srcOrd="0" destOrd="0" presId="urn:microsoft.com/office/officeart/2005/8/layout/gear1"/>
    <dgm:cxn modelId="{E1C8751B-8B5F-4969-AB37-117451EA825E}" type="presOf" srcId="{83267C61-1508-43DC-B21B-6C4CC85B645F}" destId="{F2B40673-4C71-4A98-9339-977C54C5A9D5}" srcOrd="2" destOrd="0" presId="urn:microsoft.com/office/officeart/2005/8/layout/gear1"/>
    <dgm:cxn modelId="{1A7183C2-4C4E-4890-8327-488B3C151369}" type="presOf" srcId="{83267C61-1508-43DC-B21B-6C4CC85B645F}" destId="{48AC5F59-43C7-463B-9C6A-CEA2081E1C1C}" srcOrd="0" destOrd="0" presId="urn:microsoft.com/office/officeart/2005/8/layout/gear1"/>
    <dgm:cxn modelId="{44DDB8E2-0EF3-4633-BF2B-E93BCCBAFA89}" srcId="{DD2A2349-D5E1-4B0B-BC4D-12DFD2A1F555}" destId="{DB8CAAE3-2297-43B6-A573-85B61E9001B2}" srcOrd="0" destOrd="0" parTransId="{2237D9B8-7080-493B-9788-0BF61F2516A0}" sibTransId="{D388EEC3-03C3-47A8-890B-2496F9CBA67B}"/>
    <dgm:cxn modelId="{A6BC9A48-6C38-4048-BC32-1DCBE38DE2AB}" type="presOf" srcId="{D388EEC3-03C3-47A8-890B-2496F9CBA67B}" destId="{9C58820E-B88E-42EC-B94E-53580DE862F7}" srcOrd="0" destOrd="0" presId="urn:microsoft.com/office/officeart/2005/8/layout/gear1"/>
    <dgm:cxn modelId="{AAF338D8-B500-46ED-B5AE-0BACBC6ADD3A}" type="presOf" srcId="{4E4C1904-5B45-41CD-B782-D4F6DF3319A5}" destId="{271AF710-52C6-4140-9C37-87300CDE1B1A}" srcOrd="0" destOrd="0" presId="urn:microsoft.com/office/officeart/2005/8/layout/gear1"/>
    <dgm:cxn modelId="{FE5058FB-3CF1-4134-A3A5-163E87AE1D02}" type="presOf" srcId="{83267C61-1508-43DC-B21B-6C4CC85B645F}" destId="{A805CD41-67EA-4513-9E61-A8C3D66DFD07}" srcOrd="1" destOrd="0" presId="urn:microsoft.com/office/officeart/2005/8/layout/gear1"/>
    <dgm:cxn modelId="{F2B28A03-822A-473D-940E-77664197B226}" type="presOf" srcId="{DB8CAAE3-2297-43B6-A573-85B61E9001B2}" destId="{2EE2CEB5-124D-44F5-9096-E7ECAF2F2101}" srcOrd="0" destOrd="0" presId="urn:microsoft.com/office/officeart/2005/8/layout/gear1"/>
    <dgm:cxn modelId="{7E8DD2BA-5665-4914-B4EC-A4D285681FEB}" type="presOf" srcId="{DB8CAAE3-2297-43B6-A573-85B61E9001B2}" destId="{3115EADC-B8B2-4B58-B882-7BA79A4C3E8C}" srcOrd="1" destOrd="0" presId="urn:microsoft.com/office/officeart/2005/8/layout/gear1"/>
    <dgm:cxn modelId="{1E3A9A4A-C5A3-41BA-9C4E-590E7B413828}" type="presOf" srcId="{DB8CAAE3-2297-43B6-A573-85B61E9001B2}" destId="{128F0A60-3FF4-4381-B2EE-759ED4374620}" srcOrd="2" destOrd="0" presId="urn:microsoft.com/office/officeart/2005/8/layout/gear1"/>
    <dgm:cxn modelId="{073B4C41-417B-4F58-A495-297D90913EA8}" srcId="{DD2A2349-D5E1-4B0B-BC4D-12DFD2A1F555}" destId="{83267C61-1508-43DC-B21B-6C4CC85B645F}" srcOrd="1" destOrd="0" parTransId="{68B8E43C-2B2E-4FE0-AE78-B902D4E2AAF2}" sibTransId="{4E4C1904-5B45-41CD-B782-D4F6DF3319A5}"/>
    <dgm:cxn modelId="{876B16F0-1EC8-45E7-A6F4-389FC2EB4FD9}" type="presParOf" srcId="{04CEFBD9-3179-4291-917F-D814B58269B2}" destId="{2EE2CEB5-124D-44F5-9096-E7ECAF2F2101}" srcOrd="0" destOrd="0" presId="urn:microsoft.com/office/officeart/2005/8/layout/gear1"/>
    <dgm:cxn modelId="{10A13F8B-027A-4B05-8E19-1D3AB5D814EA}" type="presParOf" srcId="{04CEFBD9-3179-4291-917F-D814B58269B2}" destId="{3115EADC-B8B2-4B58-B882-7BA79A4C3E8C}" srcOrd="1" destOrd="0" presId="urn:microsoft.com/office/officeart/2005/8/layout/gear1"/>
    <dgm:cxn modelId="{D4501B7F-92A1-4AB4-AD13-F549649B2C3B}" type="presParOf" srcId="{04CEFBD9-3179-4291-917F-D814B58269B2}" destId="{128F0A60-3FF4-4381-B2EE-759ED4374620}" srcOrd="2" destOrd="0" presId="urn:microsoft.com/office/officeart/2005/8/layout/gear1"/>
    <dgm:cxn modelId="{8FF8A1B8-4A6E-4B3C-ACC7-08F6150DE620}" type="presParOf" srcId="{04CEFBD9-3179-4291-917F-D814B58269B2}" destId="{48AC5F59-43C7-463B-9C6A-CEA2081E1C1C}" srcOrd="3" destOrd="0" presId="urn:microsoft.com/office/officeart/2005/8/layout/gear1"/>
    <dgm:cxn modelId="{716F5C41-7788-4AE3-A483-8653EF807408}" type="presParOf" srcId="{04CEFBD9-3179-4291-917F-D814B58269B2}" destId="{A805CD41-67EA-4513-9E61-A8C3D66DFD07}" srcOrd="4" destOrd="0" presId="urn:microsoft.com/office/officeart/2005/8/layout/gear1"/>
    <dgm:cxn modelId="{9F5F6199-C5A5-4DFF-8A44-899DC1E4D76A}" type="presParOf" srcId="{04CEFBD9-3179-4291-917F-D814B58269B2}" destId="{F2B40673-4C71-4A98-9339-977C54C5A9D5}" srcOrd="5" destOrd="0" presId="urn:microsoft.com/office/officeart/2005/8/layout/gear1"/>
    <dgm:cxn modelId="{F88E605C-E234-44AE-A731-8FCF9E692EAC}" type="presParOf" srcId="{04CEFBD9-3179-4291-917F-D814B58269B2}" destId="{9C58820E-B88E-42EC-B94E-53580DE862F7}" srcOrd="6" destOrd="0" presId="urn:microsoft.com/office/officeart/2005/8/layout/gear1"/>
    <dgm:cxn modelId="{F4C68C9D-F261-4A0A-80B7-53531FD0F7D9}" type="presParOf" srcId="{04CEFBD9-3179-4291-917F-D814B58269B2}" destId="{271AF710-52C6-4140-9C37-87300CDE1B1A}" srcOrd="7"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E63ACFB1-B77F-4015-9BED-EC30BF08F771}" type="doc">
      <dgm:prSet loTypeId="urn:microsoft.com/office/officeart/2005/8/layout/hChevron3" loCatId="process" qsTypeId="urn:microsoft.com/office/officeart/2005/8/quickstyle/simple1" qsCatId="simple" csTypeId="urn:microsoft.com/office/officeart/2005/8/colors/accent1_2" csCatId="accent1" phldr="1"/>
      <dgm:spPr/>
      <dgm:t>
        <a:bodyPr/>
        <a:lstStyle/>
        <a:p>
          <a:endParaRPr lang="it-IT"/>
        </a:p>
      </dgm:t>
    </dgm:pt>
    <dgm:pt modelId="{E46B0764-5BD0-4874-96A3-55F283CF28ED}">
      <dgm:prSet/>
      <dgm:spPr>
        <a:solidFill>
          <a:srgbClr val="FFC000"/>
        </a:solidFill>
      </dgm:spPr>
      <dgm:t>
        <a:bodyPr/>
        <a:lstStyle/>
        <a:p>
          <a:pPr rtl="0"/>
          <a:r>
            <a:rPr lang="it-IT" dirty="0" smtClean="0"/>
            <a:t>Verso il PO FESR 2014-2020</a:t>
          </a:r>
          <a:endParaRPr lang="it-IT" dirty="0"/>
        </a:p>
      </dgm:t>
    </dgm:pt>
    <dgm:pt modelId="{B88FFC91-1F6F-4375-8676-72BE85B74A9B}" type="parTrans" cxnId="{EB38DD7B-3F2C-41A1-87E8-22B0F5F058E1}">
      <dgm:prSet/>
      <dgm:spPr/>
      <dgm:t>
        <a:bodyPr/>
        <a:lstStyle/>
        <a:p>
          <a:endParaRPr lang="it-IT"/>
        </a:p>
      </dgm:t>
    </dgm:pt>
    <dgm:pt modelId="{0F6C585C-BEAF-403B-BAC3-5E6D53278BED}" type="sibTrans" cxnId="{EB38DD7B-3F2C-41A1-87E8-22B0F5F058E1}">
      <dgm:prSet/>
      <dgm:spPr/>
      <dgm:t>
        <a:bodyPr/>
        <a:lstStyle/>
        <a:p>
          <a:endParaRPr lang="it-IT"/>
        </a:p>
      </dgm:t>
    </dgm:pt>
    <dgm:pt modelId="{42458090-426A-4F00-AD2D-8E2703041A28}" type="pres">
      <dgm:prSet presAssocID="{E63ACFB1-B77F-4015-9BED-EC30BF08F771}" presName="Name0" presStyleCnt="0">
        <dgm:presLayoutVars>
          <dgm:dir/>
          <dgm:resizeHandles val="exact"/>
        </dgm:presLayoutVars>
      </dgm:prSet>
      <dgm:spPr/>
      <dgm:t>
        <a:bodyPr/>
        <a:lstStyle/>
        <a:p>
          <a:endParaRPr lang="it-IT"/>
        </a:p>
      </dgm:t>
    </dgm:pt>
    <dgm:pt modelId="{FB318694-7D13-4394-9999-743EFAEC9488}" type="pres">
      <dgm:prSet presAssocID="{E46B0764-5BD0-4874-96A3-55F283CF28ED}" presName="parTxOnly" presStyleLbl="node1" presStyleIdx="0" presStyleCnt="1" custAng="0" custScaleX="41573" custLinFactNeighborX="18726">
        <dgm:presLayoutVars>
          <dgm:bulletEnabled val="1"/>
        </dgm:presLayoutVars>
      </dgm:prSet>
      <dgm:spPr/>
      <dgm:t>
        <a:bodyPr/>
        <a:lstStyle/>
        <a:p>
          <a:endParaRPr lang="it-IT"/>
        </a:p>
      </dgm:t>
    </dgm:pt>
  </dgm:ptLst>
  <dgm:cxnLst>
    <dgm:cxn modelId="{4005B7D9-4696-4734-B074-5E590A71CA9B}" type="presOf" srcId="{E46B0764-5BD0-4874-96A3-55F283CF28ED}" destId="{FB318694-7D13-4394-9999-743EFAEC9488}" srcOrd="0" destOrd="0" presId="urn:microsoft.com/office/officeart/2005/8/layout/hChevron3"/>
    <dgm:cxn modelId="{EB38DD7B-3F2C-41A1-87E8-22B0F5F058E1}" srcId="{E63ACFB1-B77F-4015-9BED-EC30BF08F771}" destId="{E46B0764-5BD0-4874-96A3-55F283CF28ED}" srcOrd="0" destOrd="0" parTransId="{B88FFC91-1F6F-4375-8676-72BE85B74A9B}" sibTransId="{0F6C585C-BEAF-403B-BAC3-5E6D53278BED}"/>
    <dgm:cxn modelId="{E7CCD80C-CF11-456A-940F-FDF4A1BF881B}" type="presOf" srcId="{E63ACFB1-B77F-4015-9BED-EC30BF08F771}" destId="{42458090-426A-4F00-AD2D-8E2703041A28}" srcOrd="0" destOrd="0" presId="urn:microsoft.com/office/officeart/2005/8/layout/hChevron3"/>
    <dgm:cxn modelId="{87BDF98C-E634-4A2A-9A54-4D4E320A5FDD}" type="presParOf" srcId="{42458090-426A-4F00-AD2D-8E2703041A28}" destId="{FB318694-7D13-4394-9999-743EFAEC9488}" srcOrd="0"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AE646E03-12A4-49CF-87FA-83F02809DAA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it-IT"/>
        </a:p>
      </dgm:t>
    </dgm:pt>
    <dgm:pt modelId="{83F18DF4-A7CB-4C68-84EF-BE7E4F9667D2}">
      <dgm:prSet custT="1"/>
      <dgm:spPr/>
      <dgm:t>
        <a:bodyPr/>
        <a:lstStyle/>
        <a:p>
          <a:pPr algn="ctr" rtl="0"/>
          <a:r>
            <a:rPr lang="it-IT" sz="1100" dirty="0" smtClean="0"/>
            <a:t>Mission Oriented </a:t>
          </a:r>
          <a:endParaRPr lang="it-IT" sz="1100" dirty="0"/>
        </a:p>
      </dgm:t>
    </dgm:pt>
    <dgm:pt modelId="{1A9E2F38-4905-4E72-9BAD-FC02BBD1C89D}" type="parTrans" cxnId="{3EB93381-CFDF-412D-BD0E-28EC38363155}">
      <dgm:prSet/>
      <dgm:spPr/>
      <dgm:t>
        <a:bodyPr/>
        <a:lstStyle/>
        <a:p>
          <a:endParaRPr lang="it-IT"/>
        </a:p>
      </dgm:t>
    </dgm:pt>
    <dgm:pt modelId="{53E7F729-0A4D-416F-AF8A-594714C3CE2E}" type="sibTrans" cxnId="{3EB93381-CFDF-412D-BD0E-28EC38363155}">
      <dgm:prSet/>
      <dgm:spPr/>
      <dgm:t>
        <a:bodyPr/>
        <a:lstStyle/>
        <a:p>
          <a:endParaRPr lang="it-IT"/>
        </a:p>
      </dgm:t>
    </dgm:pt>
    <dgm:pt modelId="{32EF67BB-7DDF-4EDE-983A-3F879EF25BB8}" type="pres">
      <dgm:prSet presAssocID="{AE646E03-12A4-49CF-87FA-83F02809DAAE}" presName="linear" presStyleCnt="0">
        <dgm:presLayoutVars>
          <dgm:animLvl val="lvl"/>
          <dgm:resizeHandles val="exact"/>
        </dgm:presLayoutVars>
      </dgm:prSet>
      <dgm:spPr/>
      <dgm:t>
        <a:bodyPr/>
        <a:lstStyle/>
        <a:p>
          <a:endParaRPr lang="it-IT"/>
        </a:p>
      </dgm:t>
    </dgm:pt>
    <dgm:pt modelId="{49145999-397C-4B26-80C5-A6DCCF277918}" type="pres">
      <dgm:prSet presAssocID="{83F18DF4-A7CB-4C68-84EF-BE7E4F9667D2}" presName="parentText" presStyleLbl="node1" presStyleIdx="0" presStyleCnt="1" custScaleY="19615" custLinFactNeighborX="-2180" custLinFactNeighborY="12174">
        <dgm:presLayoutVars>
          <dgm:chMax val="0"/>
          <dgm:bulletEnabled val="1"/>
        </dgm:presLayoutVars>
      </dgm:prSet>
      <dgm:spPr/>
      <dgm:t>
        <a:bodyPr/>
        <a:lstStyle/>
        <a:p>
          <a:endParaRPr lang="it-IT"/>
        </a:p>
      </dgm:t>
    </dgm:pt>
  </dgm:ptLst>
  <dgm:cxnLst>
    <dgm:cxn modelId="{3EB93381-CFDF-412D-BD0E-28EC38363155}" srcId="{AE646E03-12A4-49CF-87FA-83F02809DAAE}" destId="{83F18DF4-A7CB-4C68-84EF-BE7E4F9667D2}" srcOrd="0" destOrd="0" parTransId="{1A9E2F38-4905-4E72-9BAD-FC02BBD1C89D}" sibTransId="{53E7F729-0A4D-416F-AF8A-594714C3CE2E}"/>
    <dgm:cxn modelId="{A73F6E28-F191-44D9-91F0-7220060E3CE4}" type="presOf" srcId="{83F18DF4-A7CB-4C68-84EF-BE7E4F9667D2}" destId="{49145999-397C-4B26-80C5-A6DCCF277918}" srcOrd="0" destOrd="0" presId="urn:microsoft.com/office/officeart/2005/8/layout/vList2"/>
    <dgm:cxn modelId="{0547AC9B-1565-4971-9931-52FCBE3F096E}" type="presOf" srcId="{AE646E03-12A4-49CF-87FA-83F02809DAAE}" destId="{32EF67BB-7DDF-4EDE-983A-3F879EF25BB8}" srcOrd="0" destOrd="0" presId="urn:microsoft.com/office/officeart/2005/8/layout/vList2"/>
    <dgm:cxn modelId="{38BB5A54-11CB-4EFB-998C-062843589A18}" type="presParOf" srcId="{32EF67BB-7DDF-4EDE-983A-3F879EF25BB8}" destId="{49145999-397C-4B26-80C5-A6DCCF277918}" srcOrd="0"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AE646E03-12A4-49CF-87FA-83F02809DAA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it-IT"/>
        </a:p>
      </dgm:t>
    </dgm:pt>
    <dgm:pt modelId="{83F18DF4-A7CB-4C68-84EF-BE7E4F9667D2}">
      <dgm:prSet custT="1"/>
      <dgm:spPr/>
      <dgm:t>
        <a:bodyPr/>
        <a:lstStyle/>
        <a:p>
          <a:pPr algn="ctr" rtl="0"/>
          <a:r>
            <a:rPr lang="it-IT" sz="1100" dirty="0" smtClean="0"/>
            <a:t>Diffusion  Oriented </a:t>
          </a:r>
          <a:endParaRPr lang="it-IT" sz="1100" dirty="0"/>
        </a:p>
      </dgm:t>
    </dgm:pt>
    <dgm:pt modelId="{1A9E2F38-4905-4E72-9BAD-FC02BBD1C89D}" type="parTrans" cxnId="{3EB93381-CFDF-412D-BD0E-28EC38363155}">
      <dgm:prSet/>
      <dgm:spPr/>
      <dgm:t>
        <a:bodyPr/>
        <a:lstStyle/>
        <a:p>
          <a:endParaRPr lang="it-IT"/>
        </a:p>
      </dgm:t>
    </dgm:pt>
    <dgm:pt modelId="{53E7F729-0A4D-416F-AF8A-594714C3CE2E}" type="sibTrans" cxnId="{3EB93381-CFDF-412D-BD0E-28EC38363155}">
      <dgm:prSet/>
      <dgm:spPr/>
      <dgm:t>
        <a:bodyPr/>
        <a:lstStyle/>
        <a:p>
          <a:endParaRPr lang="it-IT"/>
        </a:p>
      </dgm:t>
    </dgm:pt>
    <dgm:pt modelId="{32EF67BB-7DDF-4EDE-983A-3F879EF25BB8}" type="pres">
      <dgm:prSet presAssocID="{AE646E03-12A4-49CF-87FA-83F02809DAAE}" presName="linear" presStyleCnt="0">
        <dgm:presLayoutVars>
          <dgm:animLvl val="lvl"/>
          <dgm:resizeHandles val="exact"/>
        </dgm:presLayoutVars>
      </dgm:prSet>
      <dgm:spPr/>
      <dgm:t>
        <a:bodyPr/>
        <a:lstStyle/>
        <a:p>
          <a:endParaRPr lang="it-IT"/>
        </a:p>
      </dgm:t>
    </dgm:pt>
    <dgm:pt modelId="{49145999-397C-4B26-80C5-A6DCCF277918}" type="pres">
      <dgm:prSet presAssocID="{83F18DF4-A7CB-4C68-84EF-BE7E4F9667D2}" presName="parentText" presStyleLbl="node1" presStyleIdx="0" presStyleCnt="1" custScaleY="19615">
        <dgm:presLayoutVars>
          <dgm:chMax val="0"/>
          <dgm:bulletEnabled val="1"/>
        </dgm:presLayoutVars>
      </dgm:prSet>
      <dgm:spPr/>
      <dgm:t>
        <a:bodyPr/>
        <a:lstStyle/>
        <a:p>
          <a:endParaRPr lang="it-IT"/>
        </a:p>
      </dgm:t>
    </dgm:pt>
  </dgm:ptLst>
  <dgm:cxnLst>
    <dgm:cxn modelId="{A2DDAAD7-2371-4F01-AA76-B78EA5133B1A}" type="presOf" srcId="{83F18DF4-A7CB-4C68-84EF-BE7E4F9667D2}" destId="{49145999-397C-4B26-80C5-A6DCCF277918}" srcOrd="0" destOrd="0" presId="urn:microsoft.com/office/officeart/2005/8/layout/vList2"/>
    <dgm:cxn modelId="{3EB93381-CFDF-412D-BD0E-28EC38363155}" srcId="{AE646E03-12A4-49CF-87FA-83F02809DAAE}" destId="{83F18DF4-A7CB-4C68-84EF-BE7E4F9667D2}" srcOrd="0" destOrd="0" parTransId="{1A9E2F38-4905-4E72-9BAD-FC02BBD1C89D}" sibTransId="{53E7F729-0A4D-416F-AF8A-594714C3CE2E}"/>
    <dgm:cxn modelId="{DB8862D7-A04E-44FE-9265-8C54B550341E}" type="presOf" srcId="{AE646E03-12A4-49CF-87FA-83F02809DAAE}" destId="{32EF67BB-7DDF-4EDE-983A-3F879EF25BB8}" srcOrd="0" destOrd="0" presId="urn:microsoft.com/office/officeart/2005/8/layout/vList2"/>
    <dgm:cxn modelId="{A09C891B-EB46-4D20-9053-4E7B116F9FB2}" type="presParOf" srcId="{32EF67BB-7DDF-4EDE-983A-3F879EF25BB8}" destId="{49145999-397C-4B26-80C5-A6DCCF277918}" srcOrd="0" destOrd="0" presId="urn:microsoft.com/office/officeart/2005/8/layout/vList2"/>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39FD4E34-C18B-4E55-8F13-FC6F8AE5828C}"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it-IT"/>
        </a:p>
      </dgm:t>
    </dgm:pt>
    <dgm:pt modelId="{CEA299AD-D349-496E-B78D-D831922BCD2A}">
      <dgm:prSet/>
      <dgm:spPr/>
      <dgm:t>
        <a:bodyPr/>
        <a:lstStyle/>
        <a:p>
          <a:pPr rtl="0"/>
          <a:r>
            <a:rPr lang="it-IT" dirty="0" smtClean="0"/>
            <a:t>Rafforzamento competenze scientifiche e produttive legate alle KETs </a:t>
          </a:r>
          <a:endParaRPr lang="it-IT" dirty="0"/>
        </a:p>
      </dgm:t>
    </dgm:pt>
    <dgm:pt modelId="{72D864ED-69E8-4DFB-A5A3-B6CA65F6F973}" type="parTrans" cxnId="{98EC2005-1324-4336-9361-1A1643668FC3}">
      <dgm:prSet/>
      <dgm:spPr/>
      <dgm:t>
        <a:bodyPr/>
        <a:lstStyle/>
        <a:p>
          <a:endParaRPr lang="it-IT"/>
        </a:p>
      </dgm:t>
    </dgm:pt>
    <dgm:pt modelId="{79CCDDF6-46B0-4D22-A120-BE39E4E04BB0}" type="sibTrans" cxnId="{98EC2005-1324-4336-9361-1A1643668FC3}">
      <dgm:prSet/>
      <dgm:spPr/>
      <dgm:t>
        <a:bodyPr/>
        <a:lstStyle/>
        <a:p>
          <a:endParaRPr lang="it-IT"/>
        </a:p>
      </dgm:t>
    </dgm:pt>
    <dgm:pt modelId="{BABB195B-5594-48DA-90AD-E0F073F4596F}" type="pres">
      <dgm:prSet presAssocID="{39FD4E34-C18B-4E55-8F13-FC6F8AE5828C}" presName="linear" presStyleCnt="0">
        <dgm:presLayoutVars>
          <dgm:animLvl val="lvl"/>
          <dgm:resizeHandles val="exact"/>
        </dgm:presLayoutVars>
      </dgm:prSet>
      <dgm:spPr/>
      <dgm:t>
        <a:bodyPr/>
        <a:lstStyle/>
        <a:p>
          <a:endParaRPr lang="it-IT"/>
        </a:p>
      </dgm:t>
    </dgm:pt>
    <dgm:pt modelId="{677FC795-A476-4946-BE97-EF1BF71309EC}" type="pres">
      <dgm:prSet presAssocID="{CEA299AD-D349-496E-B78D-D831922BCD2A}" presName="parentText" presStyleLbl="node1" presStyleIdx="0" presStyleCnt="1">
        <dgm:presLayoutVars>
          <dgm:chMax val="0"/>
          <dgm:bulletEnabled val="1"/>
        </dgm:presLayoutVars>
      </dgm:prSet>
      <dgm:spPr/>
      <dgm:t>
        <a:bodyPr/>
        <a:lstStyle/>
        <a:p>
          <a:endParaRPr lang="it-IT"/>
        </a:p>
      </dgm:t>
    </dgm:pt>
  </dgm:ptLst>
  <dgm:cxnLst>
    <dgm:cxn modelId="{20374120-6E14-4938-9014-3C715A7177D3}" type="presOf" srcId="{CEA299AD-D349-496E-B78D-D831922BCD2A}" destId="{677FC795-A476-4946-BE97-EF1BF71309EC}" srcOrd="0" destOrd="0" presId="urn:microsoft.com/office/officeart/2005/8/layout/vList2"/>
    <dgm:cxn modelId="{98EC2005-1324-4336-9361-1A1643668FC3}" srcId="{39FD4E34-C18B-4E55-8F13-FC6F8AE5828C}" destId="{CEA299AD-D349-496E-B78D-D831922BCD2A}" srcOrd="0" destOrd="0" parTransId="{72D864ED-69E8-4DFB-A5A3-B6CA65F6F973}" sibTransId="{79CCDDF6-46B0-4D22-A120-BE39E4E04BB0}"/>
    <dgm:cxn modelId="{69294ABB-008B-409A-8F90-58307251FA9E}" type="presOf" srcId="{39FD4E34-C18B-4E55-8F13-FC6F8AE5828C}" destId="{BABB195B-5594-48DA-90AD-E0F073F4596F}" srcOrd="0" destOrd="0" presId="urn:microsoft.com/office/officeart/2005/8/layout/vList2"/>
    <dgm:cxn modelId="{E8C90061-ECD2-4F97-A510-84E57DC2108D}" type="presParOf" srcId="{BABB195B-5594-48DA-90AD-E0F073F4596F}" destId="{677FC795-A476-4946-BE97-EF1BF71309EC}" srcOrd="0" destOrd="0" presId="urn:microsoft.com/office/officeart/2005/8/layout/vList2"/>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FF2A952B-8B1F-4A81-95B2-FE6D0C93768D}"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it-IT"/>
        </a:p>
      </dgm:t>
    </dgm:pt>
    <dgm:pt modelId="{5131F6F2-53E2-47D7-B836-76B41ADD98CC}">
      <dgm:prSet/>
      <dgm:spPr/>
      <dgm:t>
        <a:bodyPr/>
        <a:lstStyle/>
        <a:p>
          <a:pPr rtl="0"/>
          <a:r>
            <a:rPr lang="it-IT" dirty="0" smtClean="0"/>
            <a:t>Applicazioni delle KET s ai settori esistenti con maggiori potenzialità di sviluppo competitivo</a:t>
          </a:r>
          <a:endParaRPr lang="it-IT" dirty="0"/>
        </a:p>
      </dgm:t>
    </dgm:pt>
    <dgm:pt modelId="{CFE3FBC7-C9FB-4FB5-909B-C511C68BEA7F}" type="parTrans" cxnId="{4DD85B7B-C9AF-4EF5-9890-671A5EED9641}">
      <dgm:prSet/>
      <dgm:spPr/>
      <dgm:t>
        <a:bodyPr/>
        <a:lstStyle/>
        <a:p>
          <a:endParaRPr lang="it-IT"/>
        </a:p>
      </dgm:t>
    </dgm:pt>
    <dgm:pt modelId="{DCE95833-DB23-4095-9F3E-6CA8E4A63CD9}" type="sibTrans" cxnId="{4DD85B7B-C9AF-4EF5-9890-671A5EED9641}">
      <dgm:prSet/>
      <dgm:spPr/>
      <dgm:t>
        <a:bodyPr/>
        <a:lstStyle/>
        <a:p>
          <a:endParaRPr lang="it-IT"/>
        </a:p>
      </dgm:t>
    </dgm:pt>
    <dgm:pt modelId="{FFA70382-B56C-4782-9AC6-2589FCC02597}" type="pres">
      <dgm:prSet presAssocID="{FF2A952B-8B1F-4A81-95B2-FE6D0C93768D}" presName="linear" presStyleCnt="0">
        <dgm:presLayoutVars>
          <dgm:animLvl val="lvl"/>
          <dgm:resizeHandles val="exact"/>
        </dgm:presLayoutVars>
      </dgm:prSet>
      <dgm:spPr/>
      <dgm:t>
        <a:bodyPr/>
        <a:lstStyle/>
        <a:p>
          <a:endParaRPr lang="it-IT"/>
        </a:p>
      </dgm:t>
    </dgm:pt>
    <dgm:pt modelId="{5C7320C9-9B3C-43B0-ABDA-0630C0911D53}" type="pres">
      <dgm:prSet presAssocID="{5131F6F2-53E2-47D7-B836-76B41ADD98CC}" presName="parentText" presStyleLbl="node1" presStyleIdx="0" presStyleCnt="1" custLinFactNeighborY="-16468">
        <dgm:presLayoutVars>
          <dgm:chMax val="0"/>
          <dgm:bulletEnabled val="1"/>
        </dgm:presLayoutVars>
      </dgm:prSet>
      <dgm:spPr/>
      <dgm:t>
        <a:bodyPr/>
        <a:lstStyle/>
        <a:p>
          <a:endParaRPr lang="it-IT"/>
        </a:p>
      </dgm:t>
    </dgm:pt>
  </dgm:ptLst>
  <dgm:cxnLst>
    <dgm:cxn modelId="{4415A7A7-4E51-4BBA-AFD5-2D95665D5C93}" type="presOf" srcId="{FF2A952B-8B1F-4A81-95B2-FE6D0C93768D}" destId="{FFA70382-B56C-4782-9AC6-2589FCC02597}" srcOrd="0" destOrd="0" presId="urn:microsoft.com/office/officeart/2005/8/layout/vList2"/>
    <dgm:cxn modelId="{4DD85B7B-C9AF-4EF5-9890-671A5EED9641}" srcId="{FF2A952B-8B1F-4A81-95B2-FE6D0C93768D}" destId="{5131F6F2-53E2-47D7-B836-76B41ADD98CC}" srcOrd="0" destOrd="0" parTransId="{CFE3FBC7-C9FB-4FB5-909B-C511C68BEA7F}" sibTransId="{DCE95833-DB23-4095-9F3E-6CA8E4A63CD9}"/>
    <dgm:cxn modelId="{9DF6C245-BEF0-43E9-BFAD-7A9A0C762BAE}" type="presOf" srcId="{5131F6F2-53E2-47D7-B836-76B41ADD98CC}" destId="{5C7320C9-9B3C-43B0-ABDA-0630C0911D53}" srcOrd="0" destOrd="0" presId="urn:microsoft.com/office/officeart/2005/8/layout/vList2"/>
    <dgm:cxn modelId="{CCCF7BAE-7813-459F-B295-98353CB5285A}" type="presParOf" srcId="{FFA70382-B56C-4782-9AC6-2589FCC02597}" destId="{5C7320C9-9B3C-43B0-ABDA-0630C0911D53}" srcOrd="0" destOrd="0" presId="urn:microsoft.com/office/officeart/2005/8/layout/vList2"/>
  </dgm:cxnLst>
  <dgm:bg/>
  <dgm:whole/>
  <dgm:extLst>
    <a:ext uri="http://schemas.microsoft.com/office/drawing/2008/diagram">
      <dsp:dataModelExt xmlns:dsp="http://schemas.microsoft.com/office/drawing/2008/diagram" relId="rId31"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7D015C25-D274-4DD4-A8E3-370FD1A56760}"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it-IT"/>
        </a:p>
      </dgm:t>
    </dgm:pt>
    <dgm:pt modelId="{4B8DF9EC-513C-4242-9EF7-06AC94FD0C25}">
      <dgm:prSet/>
      <dgm:spPr/>
      <dgm:t>
        <a:bodyPr/>
        <a:lstStyle/>
        <a:p>
          <a:pPr rtl="0"/>
          <a:r>
            <a:rPr lang="it-IT" dirty="0" smtClean="0"/>
            <a:t>Creazione di un nuovo tessuto produttivo innovation based</a:t>
          </a:r>
          <a:endParaRPr lang="it-IT" dirty="0"/>
        </a:p>
      </dgm:t>
    </dgm:pt>
    <dgm:pt modelId="{D983F1C9-8BC8-4602-A3F2-93DDE7DAAB0D}" type="parTrans" cxnId="{475FE5F3-6E68-4A02-B4FD-AE07C5326B6F}">
      <dgm:prSet/>
      <dgm:spPr/>
      <dgm:t>
        <a:bodyPr/>
        <a:lstStyle/>
        <a:p>
          <a:endParaRPr lang="it-IT"/>
        </a:p>
      </dgm:t>
    </dgm:pt>
    <dgm:pt modelId="{2EB66F02-20B0-4768-B7F1-3FF5151FA168}" type="sibTrans" cxnId="{475FE5F3-6E68-4A02-B4FD-AE07C5326B6F}">
      <dgm:prSet/>
      <dgm:spPr/>
      <dgm:t>
        <a:bodyPr/>
        <a:lstStyle/>
        <a:p>
          <a:endParaRPr lang="it-IT"/>
        </a:p>
      </dgm:t>
    </dgm:pt>
    <dgm:pt modelId="{D9605F58-5920-4B30-ABCB-8F331F35C100}" type="pres">
      <dgm:prSet presAssocID="{7D015C25-D274-4DD4-A8E3-370FD1A56760}" presName="linear" presStyleCnt="0">
        <dgm:presLayoutVars>
          <dgm:animLvl val="lvl"/>
          <dgm:resizeHandles val="exact"/>
        </dgm:presLayoutVars>
      </dgm:prSet>
      <dgm:spPr/>
      <dgm:t>
        <a:bodyPr/>
        <a:lstStyle/>
        <a:p>
          <a:endParaRPr lang="it-IT"/>
        </a:p>
      </dgm:t>
    </dgm:pt>
    <dgm:pt modelId="{A5E72158-CB87-4623-BAB3-0A89D8A44D36}" type="pres">
      <dgm:prSet presAssocID="{4B8DF9EC-513C-4242-9EF7-06AC94FD0C25}" presName="parentText" presStyleLbl="node1" presStyleIdx="0" presStyleCnt="1">
        <dgm:presLayoutVars>
          <dgm:chMax val="0"/>
          <dgm:bulletEnabled val="1"/>
        </dgm:presLayoutVars>
      </dgm:prSet>
      <dgm:spPr/>
      <dgm:t>
        <a:bodyPr/>
        <a:lstStyle/>
        <a:p>
          <a:endParaRPr lang="it-IT"/>
        </a:p>
      </dgm:t>
    </dgm:pt>
  </dgm:ptLst>
  <dgm:cxnLst>
    <dgm:cxn modelId="{9C58A56C-B183-4933-8889-C38821F41B5D}" type="presOf" srcId="{4B8DF9EC-513C-4242-9EF7-06AC94FD0C25}" destId="{A5E72158-CB87-4623-BAB3-0A89D8A44D36}" srcOrd="0" destOrd="0" presId="urn:microsoft.com/office/officeart/2005/8/layout/vList2"/>
    <dgm:cxn modelId="{739539FC-F2BA-4613-A95E-E7CD6CBA9E97}" type="presOf" srcId="{7D015C25-D274-4DD4-A8E3-370FD1A56760}" destId="{D9605F58-5920-4B30-ABCB-8F331F35C100}" srcOrd="0" destOrd="0" presId="urn:microsoft.com/office/officeart/2005/8/layout/vList2"/>
    <dgm:cxn modelId="{475FE5F3-6E68-4A02-B4FD-AE07C5326B6F}" srcId="{7D015C25-D274-4DD4-A8E3-370FD1A56760}" destId="{4B8DF9EC-513C-4242-9EF7-06AC94FD0C25}" srcOrd="0" destOrd="0" parTransId="{D983F1C9-8BC8-4602-A3F2-93DDE7DAAB0D}" sibTransId="{2EB66F02-20B0-4768-B7F1-3FF5151FA168}"/>
    <dgm:cxn modelId="{2568B07B-559C-4644-9B5D-4676998BB0F2}" type="presParOf" srcId="{D9605F58-5920-4B30-ABCB-8F331F35C100}" destId="{A5E72158-CB87-4623-BAB3-0A89D8A44D36}" srcOrd="0" destOrd="0" presId="urn:microsoft.com/office/officeart/2005/8/layout/vList2"/>
  </dgm:cxnLst>
  <dgm:bg/>
  <dgm:whole/>
  <dgm:extLst>
    <a:ext uri="http://schemas.microsoft.com/office/drawing/2008/diagram">
      <dsp:dataModelExt xmlns:dsp="http://schemas.microsoft.com/office/drawing/2008/diagram" relId="rId3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E3B8733-AE13-4A7B-A32B-B74DE4C528D7}" type="doc">
      <dgm:prSet loTypeId="urn:microsoft.com/office/officeart/2005/8/layout/vList5" loCatId="list" qsTypeId="urn:microsoft.com/office/officeart/2005/8/quickstyle/3d1" qsCatId="3D" csTypeId="urn:microsoft.com/office/officeart/2005/8/colors/accent2_5" csCatId="accent2" phldr="1"/>
      <dgm:spPr/>
      <dgm:t>
        <a:bodyPr/>
        <a:lstStyle/>
        <a:p>
          <a:endParaRPr lang="it-IT"/>
        </a:p>
      </dgm:t>
    </dgm:pt>
    <dgm:pt modelId="{F23A2E33-A7A9-4C0C-9E2D-FE9B09B27B0C}">
      <dgm:prSet phldrT="[Testo]"/>
      <dgm:spPr/>
      <dgm:t>
        <a:bodyPr/>
        <a:lstStyle/>
        <a:p>
          <a:r>
            <a:rPr lang="it-IT" b="1" dirty="0" smtClean="0"/>
            <a:t>APPROCCIO BOTTOM UP</a:t>
          </a:r>
          <a:endParaRPr lang="it-IT" b="1" dirty="0"/>
        </a:p>
      </dgm:t>
    </dgm:pt>
    <dgm:pt modelId="{4B3C5EFE-833D-4256-8D22-790DD4FEA846}" type="parTrans" cxnId="{AA13AB5C-83C5-45C1-864A-5D3145E95840}">
      <dgm:prSet/>
      <dgm:spPr/>
      <dgm:t>
        <a:bodyPr/>
        <a:lstStyle/>
        <a:p>
          <a:endParaRPr lang="it-IT"/>
        </a:p>
      </dgm:t>
    </dgm:pt>
    <dgm:pt modelId="{CE2E410B-761E-4681-BB83-5F0176147C43}" type="sibTrans" cxnId="{AA13AB5C-83C5-45C1-864A-5D3145E95840}">
      <dgm:prSet/>
      <dgm:spPr/>
      <dgm:t>
        <a:bodyPr/>
        <a:lstStyle/>
        <a:p>
          <a:endParaRPr lang="it-IT"/>
        </a:p>
      </dgm:t>
    </dgm:pt>
    <dgm:pt modelId="{FA935D20-D649-4F38-A41B-69E90530D632}">
      <dgm:prSet phldrT="[Testo]" custT="1"/>
      <dgm:spPr/>
      <dgm:t>
        <a:bodyPr/>
        <a:lstStyle/>
        <a:p>
          <a:r>
            <a:rPr lang="it-IT" sz="3600" b="0" dirty="0" smtClean="0">
              <a:solidFill>
                <a:schemeClr val="accent1"/>
              </a:solidFill>
            </a:rPr>
            <a:t>I partecipanti al tavolo hanno il compito di </a:t>
          </a:r>
          <a:r>
            <a:rPr lang="it-IT" sz="3600" b="0" u="sng" dirty="0" smtClean="0">
              <a:solidFill>
                <a:srgbClr val="FF0000"/>
              </a:solidFill>
            </a:rPr>
            <a:t>condividere e fornire  conoscenze </a:t>
          </a:r>
          <a:r>
            <a:rPr lang="it-IT" sz="3600" b="0" dirty="0" smtClean="0">
              <a:solidFill>
                <a:schemeClr val="accent1"/>
              </a:solidFill>
            </a:rPr>
            <a:t>in termini di analisi, diagnosi, </a:t>
          </a:r>
          <a:r>
            <a:rPr lang="it-IT" sz="3600" b="0" dirty="0" err="1" smtClean="0">
              <a:solidFill>
                <a:schemeClr val="accent1"/>
              </a:solidFill>
            </a:rPr>
            <a:t>vision</a:t>
          </a:r>
          <a:r>
            <a:rPr lang="it-IT" sz="3600" b="0" dirty="0" smtClean="0">
              <a:solidFill>
                <a:schemeClr val="accent1"/>
              </a:solidFill>
            </a:rPr>
            <a:t> per </a:t>
          </a:r>
          <a:r>
            <a:rPr lang="it-IT" sz="3600" b="0" u="sng" dirty="0" smtClean="0">
              <a:solidFill>
                <a:srgbClr val="FF0000"/>
              </a:solidFill>
            </a:rPr>
            <a:t>completare</a:t>
          </a:r>
          <a:r>
            <a:rPr lang="it-IT" sz="3600" b="0" dirty="0" smtClean="0">
              <a:solidFill>
                <a:schemeClr val="accent1"/>
              </a:solidFill>
            </a:rPr>
            <a:t>  la definizione della RIS 3 Sicilia</a:t>
          </a:r>
          <a:endParaRPr lang="it-IT" sz="3600" b="0" dirty="0">
            <a:solidFill>
              <a:schemeClr val="accent1"/>
            </a:solidFill>
          </a:endParaRPr>
        </a:p>
      </dgm:t>
    </dgm:pt>
    <dgm:pt modelId="{BFFBD901-FEFF-45F6-A478-CF6D74317EA2}" type="parTrans" cxnId="{E76A9A63-FF32-4781-921F-6A2A67CD1E02}">
      <dgm:prSet/>
      <dgm:spPr/>
      <dgm:t>
        <a:bodyPr/>
        <a:lstStyle/>
        <a:p>
          <a:endParaRPr lang="it-IT"/>
        </a:p>
      </dgm:t>
    </dgm:pt>
    <dgm:pt modelId="{75DA65DA-F2A3-4A8F-8248-871D3727B6B8}" type="sibTrans" cxnId="{E76A9A63-FF32-4781-921F-6A2A67CD1E02}">
      <dgm:prSet/>
      <dgm:spPr/>
      <dgm:t>
        <a:bodyPr/>
        <a:lstStyle/>
        <a:p>
          <a:endParaRPr lang="it-IT"/>
        </a:p>
      </dgm:t>
    </dgm:pt>
    <dgm:pt modelId="{67CAF0F0-11C7-41D4-B458-17DD1ACC65D7}" type="pres">
      <dgm:prSet presAssocID="{BE3B8733-AE13-4A7B-A32B-B74DE4C528D7}" presName="Name0" presStyleCnt="0">
        <dgm:presLayoutVars>
          <dgm:dir/>
          <dgm:animLvl val="lvl"/>
          <dgm:resizeHandles val="exact"/>
        </dgm:presLayoutVars>
      </dgm:prSet>
      <dgm:spPr/>
      <dgm:t>
        <a:bodyPr/>
        <a:lstStyle/>
        <a:p>
          <a:endParaRPr lang="it-IT"/>
        </a:p>
      </dgm:t>
    </dgm:pt>
    <dgm:pt modelId="{91EF4C2B-0965-4D66-A48D-ECB7ACAE5C2D}" type="pres">
      <dgm:prSet presAssocID="{F23A2E33-A7A9-4C0C-9E2D-FE9B09B27B0C}" presName="linNode" presStyleCnt="0"/>
      <dgm:spPr/>
      <dgm:t>
        <a:bodyPr/>
        <a:lstStyle/>
        <a:p>
          <a:endParaRPr lang="it-IT"/>
        </a:p>
      </dgm:t>
    </dgm:pt>
    <dgm:pt modelId="{4B75031E-EAE2-44AE-A204-79AAE3CD8BF2}" type="pres">
      <dgm:prSet presAssocID="{F23A2E33-A7A9-4C0C-9E2D-FE9B09B27B0C}" presName="parentText" presStyleLbl="node1" presStyleIdx="0" presStyleCnt="1" custLinFactNeighborY="-1519">
        <dgm:presLayoutVars>
          <dgm:chMax val="1"/>
          <dgm:bulletEnabled val="1"/>
        </dgm:presLayoutVars>
      </dgm:prSet>
      <dgm:spPr/>
      <dgm:t>
        <a:bodyPr/>
        <a:lstStyle/>
        <a:p>
          <a:endParaRPr lang="it-IT"/>
        </a:p>
      </dgm:t>
    </dgm:pt>
    <dgm:pt modelId="{19C3370D-7B6A-4F3C-8C78-C38DF1D2FA31}" type="pres">
      <dgm:prSet presAssocID="{F23A2E33-A7A9-4C0C-9E2D-FE9B09B27B0C}" presName="descendantText" presStyleLbl="alignAccFollowNode1" presStyleIdx="0" presStyleCnt="1" custLinFactNeighborY="-5141">
        <dgm:presLayoutVars>
          <dgm:bulletEnabled val="1"/>
        </dgm:presLayoutVars>
      </dgm:prSet>
      <dgm:spPr/>
      <dgm:t>
        <a:bodyPr/>
        <a:lstStyle/>
        <a:p>
          <a:endParaRPr lang="it-IT"/>
        </a:p>
      </dgm:t>
    </dgm:pt>
  </dgm:ptLst>
  <dgm:cxnLst>
    <dgm:cxn modelId="{2318E277-3EFC-48B8-9399-5E20B36EEAEF}" type="presOf" srcId="{F23A2E33-A7A9-4C0C-9E2D-FE9B09B27B0C}" destId="{4B75031E-EAE2-44AE-A204-79AAE3CD8BF2}" srcOrd="0" destOrd="0" presId="urn:microsoft.com/office/officeart/2005/8/layout/vList5"/>
    <dgm:cxn modelId="{E76A9A63-FF32-4781-921F-6A2A67CD1E02}" srcId="{F23A2E33-A7A9-4C0C-9E2D-FE9B09B27B0C}" destId="{FA935D20-D649-4F38-A41B-69E90530D632}" srcOrd="0" destOrd="0" parTransId="{BFFBD901-FEFF-45F6-A478-CF6D74317EA2}" sibTransId="{75DA65DA-F2A3-4A8F-8248-871D3727B6B8}"/>
    <dgm:cxn modelId="{37388B86-25A3-4C64-BBF9-5226FDF8AEA7}" type="presOf" srcId="{FA935D20-D649-4F38-A41B-69E90530D632}" destId="{19C3370D-7B6A-4F3C-8C78-C38DF1D2FA31}" srcOrd="0" destOrd="0" presId="urn:microsoft.com/office/officeart/2005/8/layout/vList5"/>
    <dgm:cxn modelId="{5ED130BC-D9AC-4BAC-B4AC-979EB7404A6E}" type="presOf" srcId="{BE3B8733-AE13-4A7B-A32B-B74DE4C528D7}" destId="{67CAF0F0-11C7-41D4-B458-17DD1ACC65D7}" srcOrd="0" destOrd="0" presId="urn:microsoft.com/office/officeart/2005/8/layout/vList5"/>
    <dgm:cxn modelId="{AA13AB5C-83C5-45C1-864A-5D3145E95840}" srcId="{BE3B8733-AE13-4A7B-A32B-B74DE4C528D7}" destId="{F23A2E33-A7A9-4C0C-9E2D-FE9B09B27B0C}" srcOrd="0" destOrd="0" parTransId="{4B3C5EFE-833D-4256-8D22-790DD4FEA846}" sibTransId="{CE2E410B-761E-4681-BB83-5F0176147C43}"/>
    <dgm:cxn modelId="{B3E4F99A-53B0-410E-AD13-9B4FF2527A31}" type="presParOf" srcId="{67CAF0F0-11C7-41D4-B458-17DD1ACC65D7}" destId="{91EF4C2B-0965-4D66-A48D-ECB7ACAE5C2D}" srcOrd="0" destOrd="0" presId="urn:microsoft.com/office/officeart/2005/8/layout/vList5"/>
    <dgm:cxn modelId="{4C48504B-495E-472A-8088-96DBD718D43B}" type="presParOf" srcId="{91EF4C2B-0965-4D66-A48D-ECB7ACAE5C2D}" destId="{4B75031E-EAE2-44AE-A204-79AAE3CD8BF2}" srcOrd="0" destOrd="0" presId="urn:microsoft.com/office/officeart/2005/8/layout/vList5"/>
    <dgm:cxn modelId="{DE0FB966-C264-4140-B8C2-2A78D6BF7C4D}" type="presParOf" srcId="{91EF4C2B-0965-4D66-A48D-ECB7ACAE5C2D}" destId="{19C3370D-7B6A-4F3C-8C78-C38DF1D2FA31}"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54395A23-3C95-4CBC-9E16-034A70E80C7A}"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it-IT"/>
        </a:p>
      </dgm:t>
    </dgm:pt>
    <dgm:pt modelId="{342C2DC4-F633-4C80-8A7C-2DFCF0691567}">
      <dgm:prSet/>
      <dgm:spPr/>
      <dgm:t>
        <a:bodyPr/>
        <a:lstStyle/>
        <a:p>
          <a:pPr rtl="0"/>
          <a:r>
            <a:rPr lang="it-IT" dirty="0" smtClean="0"/>
            <a:t>Sostegno all’uso diffuso delle Innovazioni  (anche non </a:t>
          </a:r>
          <a:r>
            <a:rPr lang="it-IT" dirty="0" err="1" smtClean="0"/>
            <a:t>tech</a:t>
          </a:r>
          <a:r>
            <a:rPr lang="it-IT" dirty="0" smtClean="0"/>
            <a:t>) in risposta alle sfide sociali emergenti negli ambienti urbani e marginali</a:t>
          </a:r>
          <a:endParaRPr lang="it-IT" dirty="0"/>
        </a:p>
      </dgm:t>
    </dgm:pt>
    <dgm:pt modelId="{64F10A69-B06F-439A-978F-86236E0EED9C}" type="parTrans" cxnId="{B6C8E77B-179A-4EF2-8B05-541CDA249637}">
      <dgm:prSet/>
      <dgm:spPr/>
      <dgm:t>
        <a:bodyPr/>
        <a:lstStyle/>
        <a:p>
          <a:endParaRPr lang="it-IT"/>
        </a:p>
      </dgm:t>
    </dgm:pt>
    <dgm:pt modelId="{0DB94241-3B8B-4153-8F2C-70BD3A18212B}" type="sibTrans" cxnId="{B6C8E77B-179A-4EF2-8B05-541CDA249637}">
      <dgm:prSet/>
      <dgm:spPr/>
      <dgm:t>
        <a:bodyPr/>
        <a:lstStyle/>
        <a:p>
          <a:endParaRPr lang="it-IT"/>
        </a:p>
      </dgm:t>
    </dgm:pt>
    <dgm:pt modelId="{57F98EC0-5F68-4A62-9815-9F2088DB35F4}" type="pres">
      <dgm:prSet presAssocID="{54395A23-3C95-4CBC-9E16-034A70E80C7A}" presName="linear" presStyleCnt="0">
        <dgm:presLayoutVars>
          <dgm:animLvl val="lvl"/>
          <dgm:resizeHandles val="exact"/>
        </dgm:presLayoutVars>
      </dgm:prSet>
      <dgm:spPr/>
      <dgm:t>
        <a:bodyPr/>
        <a:lstStyle/>
        <a:p>
          <a:endParaRPr lang="it-IT"/>
        </a:p>
      </dgm:t>
    </dgm:pt>
    <dgm:pt modelId="{EE4CACD3-EE37-4975-9E62-2F328C6C370E}" type="pres">
      <dgm:prSet presAssocID="{342C2DC4-F633-4C80-8A7C-2DFCF0691567}" presName="parentText" presStyleLbl="node1" presStyleIdx="0" presStyleCnt="1" custLinFactNeighborY="-4960">
        <dgm:presLayoutVars>
          <dgm:chMax val="0"/>
          <dgm:bulletEnabled val="1"/>
        </dgm:presLayoutVars>
      </dgm:prSet>
      <dgm:spPr/>
      <dgm:t>
        <a:bodyPr/>
        <a:lstStyle/>
        <a:p>
          <a:endParaRPr lang="it-IT"/>
        </a:p>
      </dgm:t>
    </dgm:pt>
  </dgm:ptLst>
  <dgm:cxnLst>
    <dgm:cxn modelId="{F9CC7E3A-456B-43F3-A8D2-E3D0241FCA23}" type="presOf" srcId="{342C2DC4-F633-4C80-8A7C-2DFCF0691567}" destId="{EE4CACD3-EE37-4975-9E62-2F328C6C370E}" srcOrd="0" destOrd="0" presId="urn:microsoft.com/office/officeart/2005/8/layout/vList2"/>
    <dgm:cxn modelId="{E224989A-3AF0-480C-9341-E10B3C12944F}" type="presOf" srcId="{54395A23-3C95-4CBC-9E16-034A70E80C7A}" destId="{57F98EC0-5F68-4A62-9815-9F2088DB35F4}" srcOrd="0" destOrd="0" presId="urn:microsoft.com/office/officeart/2005/8/layout/vList2"/>
    <dgm:cxn modelId="{B6C8E77B-179A-4EF2-8B05-541CDA249637}" srcId="{54395A23-3C95-4CBC-9E16-034A70E80C7A}" destId="{342C2DC4-F633-4C80-8A7C-2DFCF0691567}" srcOrd="0" destOrd="0" parTransId="{64F10A69-B06F-439A-978F-86236E0EED9C}" sibTransId="{0DB94241-3B8B-4153-8F2C-70BD3A18212B}"/>
    <dgm:cxn modelId="{804C8B28-3306-4C91-AFE3-F489DEF645B0}" type="presParOf" srcId="{57F98EC0-5F68-4A62-9815-9F2088DB35F4}" destId="{EE4CACD3-EE37-4975-9E62-2F328C6C370E}" srcOrd="0" destOrd="0" presId="urn:microsoft.com/office/officeart/2005/8/layout/vList2"/>
  </dgm:cxnLst>
  <dgm:bg/>
  <dgm:whole/>
  <dgm:extLst>
    <a:ext uri="http://schemas.microsoft.com/office/drawing/2008/diagram">
      <dsp:dataModelExt xmlns:dsp="http://schemas.microsoft.com/office/drawing/2008/diagram" relId="rId41"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B7C63F1F-37AF-49BC-BBEB-5E74A137DE0D}"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it-IT"/>
        </a:p>
      </dgm:t>
    </dgm:pt>
    <dgm:pt modelId="{75218A5C-A37B-4816-9306-EEA349973F5E}">
      <dgm:prSet/>
      <dgm:spPr/>
      <dgm:t>
        <a:bodyPr/>
        <a:lstStyle/>
        <a:p>
          <a:pPr rtl="0"/>
          <a:r>
            <a:rPr lang="it-IT" dirty="0" smtClean="0"/>
            <a:t>Sostegno a nuove categorie di innovatori sociali e di creativi  culturali </a:t>
          </a:r>
          <a:endParaRPr lang="it-IT" dirty="0"/>
        </a:p>
      </dgm:t>
    </dgm:pt>
    <dgm:pt modelId="{A7D65231-8A40-4214-86D2-04268A6CD1AB}" type="parTrans" cxnId="{67585602-D54D-4782-9537-8870E433BAC0}">
      <dgm:prSet/>
      <dgm:spPr/>
      <dgm:t>
        <a:bodyPr/>
        <a:lstStyle/>
        <a:p>
          <a:endParaRPr lang="it-IT"/>
        </a:p>
      </dgm:t>
    </dgm:pt>
    <dgm:pt modelId="{BB6D7AD5-3235-4C94-9B20-0BBCB424F3DA}" type="sibTrans" cxnId="{67585602-D54D-4782-9537-8870E433BAC0}">
      <dgm:prSet/>
      <dgm:spPr/>
      <dgm:t>
        <a:bodyPr/>
        <a:lstStyle/>
        <a:p>
          <a:endParaRPr lang="it-IT"/>
        </a:p>
      </dgm:t>
    </dgm:pt>
    <dgm:pt modelId="{3E7B7DB2-5C50-46DE-8199-527C1A2C9C81}" type="pres">
      <dgm:prSet presAssocID="{B7C63F1F-37AF-49BC-BBEB-5E74A137DE0D}" presName="linear" presStyleCnt="0">
        <dgm:presLayoutVars>
          <dgm:animLvl val="lvl"/>
          <dgm:resizeHandles val="exact"/>
        </dgm:presLayoutVars>
      </dgm:prSet>
      <dgm:spPr/>
      <dgm:t>
        <a:bodyPr/>
        <a:lstStyle/>
        <a:p>
          <a:endParaRPr lang="it-IT"/>
        </a:p>
      </dgm:t>
    </dgm:pt>
    <dgm:pt modelId="{486AD86E-5163-40B0-AE34-CC51738A6EFB}" type="pres">
      <dgm:prSet presAssocID="{75218A5C-A37B-4816-9306-EEA349973F5E}" presName="parentText" presStyleLbl="node1" presStyleIdx="0" presStyleCnt="1" custLinFactNeighborY="-27492">
        <dgm:presLayoutVars>
          <dgm:chMax val="0"/>
          <dgm:bulletEnabled val="1"/>
        </dgm:presLayoutVars>
      </dgm:prSet>
      <dgm:spPr/>
      <dgm:t>
        <a:bodyPr/>
        <a:lstStyle/>
        <a:p>
          <a:endParaRPr lang="it-IT"/>
        </a:p>
      </dgm:t>
    </dgm:pt>
  </dgm:ptLst>
  <dgm:cxnLst>
    <dgm:cxn modelId="{0E87196A-219D-4D1C-BAC3-BB59D61ADF0B}" type="presOf" srcId="{75218A5C-A37B-4816-9306-EEA349973F5E}" destId="{486AD86E-5163-40B0-AE34-CC51738A6EFB}" srcOrd="0" destOrd="0" presId="urn:microsoft.com/office/officeart/2005/8/layout/vList2"/>
    <dgm:cxn modelId="{67737EF9-BDCE-4230-A6E3-347141CCEA13}" type="presOf" srcId="{B7C63F1F-37AF-49BC-BBEB-5E74A137DE0D}" destId="{3E7B7DB2-5C50-46DE-8199-527C1A2C9C81}" srcOrd="0" destOrd="0" presId="urn:microsoft.com/office/officeart/2005/8/layout/vList2"/>
    <dgm:cxn modelId="{67585602-D54D-4782-9537-8870E433BAC0}" srcId="{B7C63F1F-37AF-49BC-BBEB-5E74A137DE0D}" destId="{75218A5C-A37B-4816-9306-EEA349973F5E}" srcOrd="0" destOrd="0" parTransId="{A7D65231-8A40-4214-86D2-04268A6CD1AB}" sibTransId="{BB6D7AD5-3235-4C94-9B20-0BBCB424F3DA}"/>
    <dgm:cxn modelId="{EA9BCD40-3FED-41E8-B700-F337F693F7B9}" type="presParOf" srcId="{3E7B7DB2-5C50-46DE-8199-527C1A2C9C81}" destId="{486AD86E-5163-40B0-AE34-CC51738A6EFB}" srcOrd="0" destOrd="0" presId="urn:microsoft.com/office/officeart/2005/8/layout/vList2"/>
  </dgm:cxnLst>
  <dgm:bg/>
  <dgm:whole/>
  <dgm:extLst>
    <a:ext uri="http://schemas.microsoft.com/office/drawing/2008/diagram">
      <dsp:dataModelExt xmlns:dsp="http://schemas.microsoft.com/office/drawing/2008/diagram" relId="rId46"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9F45F9F9-E7F1-4D12-B562-AA4345E774A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it-IT"/>
        </a:p>
      </dgm:t>
    </dgm:pt>
    <dgm:pt modelId="{BA2B7103-6937-4879-B678-0F2246078975}">
      <dgm:prSet custT="1"/>
      <dgm:spPr/>
      <dgm:t>
        <a:bodyPr/>
        <a:lstStyle/>
        <a:p>
          <a:pPr rtl="0"/>
          <a:r>
            <a:rPr lang="it-IT" sz="1100" dirty="0" smtClean="0"/>
            <a:t>Diffusione della cultura dell’innovazione a tutti i livelli della società regionale</a:t>
          </a:r>
          <a:endParaRPr lang="it-IT" sz="1100" dirty="0"/>
        </a:p>
      </dgm:t>
    </dgm:pt>
    <dgm:pt modelId="{03FB00C7-8265-4781-A621-250439406826}" type="parTrans" cxnId="{A0A4B6A5-0FAC-4873-B138-51F3385522E4}">
      <dgm:prSet/>
      <dgm:spPr/>
      <dgm:t>
        <a:bodyPr/>
        <a:lstStyle/>
        <a:p>
          <a:endParaRPr lang="it-IT"/>
        </a:p>
      </dgm:t>
    </dgm:pt>
    <dgm:pt modelId="{3622B74C-A085-4A94-9A74-FADC376FB6FA}" type="sibTrans" cxnId="{A0A4B6A5-0FAC-4873-B138-51F3385522E4}">
      <dgm:prSet/>
      <dgm:spPr/>
      <dgm:t>
        <a:bodyPr/>
        <a:lstStyle/>
        <a:p>
          <a:endParaRPr lang="it-IT"/>
        </a:p>
      </dgm:t>
    </dgm:pt>
    <dgm:pt modelId="{C64E127B-0611-40E3-A846-DBF56D81913E}" type="pres">
      <dgm:prSet presAssocID="{9F45F9F9-E7F1-4D12-B562-AA4345E774A4}" presName="linear" presStyleCnt="0">
        <dgm:presLayoutVars>
          <dgm:animLvl val="lvl"/>
          <dgm:resizeHandles val="exact"/>
        </dgm:presLayoutVars>
      </dgm:prSet>
      <dgm:spPr/>
      <dgm:t>
        <a:bodyPr/>
        <a:lstStyle/>
        <a:p>
          <a:endParaRPr lang="it-IT"/>
        </a:p>
      </dgm:t>
    </dgm:pt>
    <dgm:pt modelId="{A9E7FA22-3B92-4733-BB85-6986F285FB2A}" type="pres">
      <dgm:prSet presAssocID="{BA2B7103-6937-4879-B678-0F2246078975}" presName="parentText" presStyleLbl="node1" presStyleIdx="0" presStyleCnt="1" custLinFactNeighborX="-475" custLinFactNeighborY="-43867">
        <dgm:presLayoutVars>
          <dgm:chMax val="0"/>
          <dgm:bulletEnabled val="1"/>
        </dgm:presLayoutVars>
      </dgm:prSet>
      <dgm:spPr/>
      <dgm:t>
        <a:bodyPr/>
        <a:lstStyle/>
        <a:p>
          <a:endParaRPr lang="it-IT"/>
        </a:p>
      </dgm:t>
    </dgm:pt>
  </dgm:ptLst>
  <dgm:cxnLst>
    <dgm:cxn modelId="{A0A4B6A5-0FAC-4873-B138-51F3385522E4}" srcId="{9F45F9F9-E7F1-4D12-B562-AA4345E774A4}" destId="{BA2B7103-6937-4879-B678-0F2246078975}" srcOrd="0" destOrd="0" parTransId="{03FB00C7-8265-4781-A621-250439406826}" sibTransId="{3622B74C-A085-4A94-9A74-FADC376FB6FA}"/>
    <dgm:cxn modelId="{A6775F58-4E53-49FF-A084-5BDA823D3160}" type="presOf" srcId="{BA2B7103-6937-4879-B678-0F2246078975}" destId="{A9E7FA22-3B92-4733-BB85-6986F285FB2A}" srcOrd="0" destOrd="0" presId="urn:microsoft.com/office/officeart/2005/8/layout/vList2"/>
    <dgm:cxn modelId="{E719F5A4-FEA6-43E6-B705-2B988E7CBE80}" type="presOf" srcId="{9F45F9F9-E7F1-4D12-B562-AA4345E774A4}" destId="{C64E127B-0611-40E3-A846-DBF56D81913E}" srcOrd="0" destOrd="0" presId="urn:microsoft.com/office/officeart/2005/8/layout/vList2"/>
    <dgm:cxn modelId="{04EE8A56-5D20-473B-AC88-DD0E70CE786D}" type="presParOf" srcId="{C64E127B-0611-40E3-A846-DBF56D81913E}" destId="{A9E7FA22-3B92-4733-BB85-6986F285FB2A}" srcOrd="0" destOrd="0" presId="urn:microsoft.com/office/officeart/2005/8/layout/vList2"/>
  </dgm:cxnLst>
  <dgm:bg/>
  <dgm:whole/>
  <dgm:extLst>
    <a:ext uri="http://schemas.microsoft.com/office/drawing/2008/diagram">
      <dsp:dataModelExt xmlns:dsp="http://schemas.microsoft.com/office/drawing/2008/diagram" relId="rId51"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Accordi di Programma/ITI</a:t>
          </a:r>
        </a:p>
        <a:p>
          <a:pPr rtl="0">
            <a:lnSpc>
              <a:spcPct val="100000"/>
            </a:lnSpc>
            <a:spcAft>
              <a:spcPts val="0"/>
            </a:spcAft>
          </a:pPr>
          <a:r>
            <a:rPr lang="it-IT" sz="1500" dirty="0" smtClean="0">
              <a:latin typeface="Calibri" panose="020F0502020204030204" pitchFamily="34" charset="0"/>
            </a:rPr>
            <a:t> </a:t>
          </a:r>
          <a:r>
            <a:rPr lang="it-IT" sz="1500" i="1" dirty="0" smtClean="0">
              <a:latin typeface="Calibri" panose="020F0502020204030204" pitchFamily="34" charset="0"/>
            </a:rPr>
            <a:t>Procedure negoziali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E733EB24-2123-4BE8-9C5A-5743E8E90BAC}" type="presOf" srcId="{886FCA53-2B50-4919-9D84-B3341636C061}" destId="{AF161DBD-193F-4E53-9953-839E85CF1C7D}"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A6BBE63A-500A-4E91-8007-E3387B55B80C}" type="presOf" srcId="{DF7312F5-2151-4B18-9FE3-27B38D9DAE81}" destId="{1EF007DE-E38E-41BB-9C84-DBA6EE5550E0}" srcOrd="0" destOrd="0" presId="urn:microsoft.com/office/officeart/2008/layout/VerticalCircleList"/>
    <dgm:cxn modelId="{073280F7-6537-46F5-87D1-B9485ECB2075}" type="presParOf" srcId="{AF161DBD-193F-4E53-9953-839E85CF1C7D}" destId="{41EEB0CA-07A8-4FF5-8967-C48F01E36B29}" srcOrd="0" destOrd="0" presId="urn:microsoft.com/office/officeart/2008/layout/VerticalCircleList"/>
    <dgm:cxn modelId="{B538BE87-D554-4672-9AD6-0924C0C5A628}" type="presParOf" srcId="{41EEB0CA-07A8-4FF5-8967-C48F01E36B29}" destId="{AAA1C512-E96F-4798-9282-083A0E274468}" srcOrd="0" destOrd="0" presId="urn:microsoft.com/office/officeart/2008/layout/VerticalCircleList"/>
    <dgm:cxn modelId="{147DE1FC-87F8-44D8-8B8B-34365C7A28B1}" type="presParOf" srcId="{41EEB0CA-07A8-4FF5-8967-C48F01E36B29}" destId="{74BC567D-A420-4605-8CAF-34A3430FBCC5}" srcOrd="1" destOrd="0" presId="urn:microsoft.com/office/officeart/2008/layout/VerticalCircleList"/>
    <dgm:cxn modelId="{5CC3968A-E0AA-4AEF-B6D9-EF70102EA4F1}"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Contratti di Rete</a:t>
          </a:r>
        </a:p>
        <a:p>
          <a:pPr rtl="0">
            <a:lnSpc>
              <a:spcPct val="100000"/>
            </a:lnSpc>
            <a:spcAft>
              <a:spcPts val="0"/>
            </a:spcAft>
          </a:pPr>
          <a:r>
            <a:rPr lang="it-IT" sz="1500" b="1" dirty="0" smtClean="0">
              <a:latin typeface="Calibri" panose="020F0502020204030204" pitchFamily="34" charset="0"/>
            </a:rPr>
            <a:t> </a:t>
          </a:r>
          <a:r>
            <a:rPr lang="it-IT" sz="1500" b="0" i="1" dirty="0" smtClean="0">
              <a:latin typeface="Calibri" panose="020F0502020204030204" pitchFamily="34" charset="0"/>
            </a:rPr>
            <a:t>Procedure negoziali </a:t>
          </a:r>
          <a:endParaRPr lang="it-IT" sz="1500" b="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52740FF4-8849-452B-ACB9-66BE29A8B82C}" type="presOf" srcId="{DF7312F5-2151-4B18-9FE3-27B38D9DAE81}" destId="{1EF007DE-E38E-41BB-9C84-DBA6EE5550E0}"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E7A0428F-A9B0-43A2-8CDD-49679955777A}" type="presOf" srcId="{886FCA53-2B50-4919-9D84-B3341636C061}" destId="{AF161DBD-193F-4E53-9953-839E85CF1C7D}" srcOrd="0" destOrd="0" presId="urn:microsoft.com/office/officeart/2008/layout/VerticalCircleList"/>
    <dgm:cxn modelId="{617921B1-486D-4B76-925D-0B96ADB0A88A}" type="presParOf" srcId="{AF161DBD-193F-4E53-9953-839E85CF1C7D}" destId="{41EEB0CA-07A8-4FF5-8967-C48F01E36B29}" srcOrd="0" destOrd="0" presId="urn:microsoft.com/office/officeart/2008/layout/VerticalCircleList"/>
    <dgm:cxn modelId="{C884BA81-D2BD-446C-B35D-3444755AE88C}" type="presParOf" srcId="{41EEB0CA-07A8-4FF5-8967-C48F01E36B29}" destId="{AAA1C512-E96F-4798-9282-083A0E274468}" srcOrd="0" destOrd="0" presId="urn:microsoft.com/office/officeart/2008/layout/VerticalCircleList"/>
    <dgm:cxn modelId="{68AE6BCB-79D0-41ED-9E6B-733C543B4007}" type="presParOf" srcId="{41EEB0CA-07A8-4FF5-8967-C48F01E36B29}" destId="{74BC567D-A420-4605-8CAF-34A3430FBCC5}" srcOrd="1" destOrd="0" presId="urn:microsoft.com/office/officeart/2008/layout/VerticalCircleList"/>
    <dgm:cxn modelId="{62F02ECB-DC70-425F-9309-BC3657D3D627}"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45.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Incentivi a Start up e spin off</a:t>
          </a:r>
        </a:p>
        <a:p>
          <a:pPr rtl="0">
            <a:lnSpc>
              <a:spcPct val="100000"/>
            </a:lnSpc>
            <a:spcAft>
              <a:spcPts val="0"/>
            </a:spcAft>
          </a:pPr>
          <a:r>
            <a:rPr lang="it-IT" sz="1500" dirty="0" smtClean="0">
              <a:latin typeface="Calibri" panose="020F0502020204030204" pitchFamily="34" charset="0"/>
            </a:rPr>
            <a:t>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6DD439E5-8FFB-4697-A812-8836783027C9}" srcId="{886FCA53-2B50-4919-9D84-B3341636C061}" destId="{DF7312F5-2151-4B18-9FE3-27B38D9DAE81}" srcOrd="0" destOrd="0" parTransId="{6C4FDA34-2D2E-48DD-801A-F591B8DE43C2}" sibTransId="{1C570D37-DE91-4AFB-88E9-38BA7FE09827}"/>
    <dgm:cxn modelId="{F99574BD-7A45-430D-8731-C6D7C0EE5877}" type="presOf" srcId="{886FCA53-2B50-4919-9D84-B3341636C061}" destId="{AF161DBD-193F-4E53-9953-839E85CF1C7D}" srcOrd="0" destOrd="0" presId="urn:microsoft.com/office/officeart/2008/layout/VerticalCircleList"/>
    <dgm:cxn modelId="{93F4F4A4-3D31-4C6C-B5BD-694C69E73B1A}" type="presOf" srcId="{DF7312F5-2151-4B18-9FE3-27B38D9DAE81}" destId="{1EF007DE-E38E-41BB-9C84-DBA6EE5550E0}" srcOrd="0" destOrd="0" presId="urn:microsoft.com/office/officeart/2008/layout/VerticalCircleList"/>
    <dgm:cxn modelId="{6BAE4E65-2298-4CA1-A74D-B739F8918141}" type="presParOf" srcId="{AF161DBD-193F-4E53-9953-839E85CF1C7D}" destId="{41EEB0CA-07A8-4FF5-8967-C48F01E36B29}" srcOrd="0" destOrd="0" presId="urn:microsoft.com/office/officeart/2008/layout/VerticalCircleList"/>
    <dgm:cxn modelId="{5CF23131-27B8-4B09-9C01-A110365D482E}" type="presParOf" srcId="{41EEB0CA-07A8-4FF5-8967-C48F01E36B29}" destId="{AAA1C512-E96F-4798-9282-083A0E274468}" srcOrd="0" destOrd="0" presId="urn:microsoft.com/office/officeart/2008/layout/VerticalCircleList"/>
    <dgm:cxn modelId="{F164075F-CC79-4016-BA75-E7250E33070F}" type="presParOf" srcId="{41EEB0CA-07A8-4FF5-8967-C48F01E36B29}" destId="{74BC567D-A420-4605-8CAF-34A3430FBCC5}" srcOrd="1" destOrd="0" presId="urn:microsoft.com/office/officeart/2008/layout/VerticalCircleList"/>
    <dgm:cxn modelId="{375E430C-D91D-4A50-A1D9-557EB78F17EB}"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46.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Sostegno a Cluster Nazionali</a:t>
          </a:r>
        </a:p>
        <a:p>
          <a:pPr rtl="0">
            <a:lnSpc>
              <a:spcPct val="100000"/>
            </a:lnSpc>
            <a:spcAft>
              <a:spcPts val="0"/>
            </a:spcAft>
          </a:pPr>
          <a:r>
            <a:rPr lang="it-IT" sz="1500" dirty="0" smtClean="0">
              <a:latin typeface="Calibri" panose="020F0502020204030204" pitchFamily="34" charset="0"/>
            </a:rPr>
            <a:t>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E60EE3AB-242F-41C3-8660-4129B637B021}" type="presOf" srcId="{886FCA53-2B50-4919-9D84-B3341636C061}" destId="{AF161DBD-193F-4E53-9953-839E85CF1C7D}" srcOrd="0" destOrd="0" presId="urn:microsoft.com/office/officeart/2008/layout/VerticalCircleList"/>
    <dgm:cxn modelId="{1AEC1680-9E7C-49FA-9BF3-D081C5BE60D6}" type="presOf" srcId="{DF7312F5-2151-4B18-9FE3-27B38D9DAE81}" destId="{1EF007DE-E38E-41BB-9C84-DBA6EE5550E0}"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D5D927AA-7B9D-43DC-BD68-AD3A0980E7C3}" type="presParOf" srcId="{AF161DBD-193F-4E53-9953-839E85CF1C7D}" destId="{41EEB0CA-07A8-4FF5-8967-C48F01E36B29}" srcOrd="0" destOrd="0" presId="urn:microsoft.com/office/officeart/2008/layout/VerticalCircleList"/>
    <dgm:cxn modelId="{05DC9D2B-1CF3-42C9-A10A-210F9B8381E3}" type="presParOf" srcId="{41EEB0CA-07A8-4FF5-8967-C48F01E36B29}" destId="{AAA1C512-E96F-4798-9282-083A0E274468}" srcOrd="0" destOrd="0" presId="urn:microsoft.com/office/officeart/2008/layout/VerticalCircleList"/>
    <dgm:cxn modelId="{FF735255-91A9-4226-AF75-B95F511A091B}" type="presParOf" srcId="{41EEB0CA-07A8-4FF5-8967-C48F01E36B29}" destId="{74BC567D-A420-4605-8CAF-34A3430FBCC5}" srcOrd="1" destOrd="0" presId="urn:microsoft.com/office/officeart/2008/layout/VerticalCircleList"/>
    <dgm:cxn modelId="{A30BB354-1D8E-464E-B4C9-BEA432C17E11}"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47.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Cofinanziamento progetti Horizon 2020 </a:t>
          </a:r>
          <a:endParaRPr lang="it-IT" sz="1500" b="1"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6DD439E5-8FFB-4697-A812-8836783027C9}" srcId="{886FCA53-2B50-4919-9D84-B3341636C061}" destId="{DF7312F5-2151-4B18-9FE3-27B38D9DAE81}" srcOrd="0" destOrd="0" parTransId="{6C4FDA34-2D2E-48DD-801A-F591B8DE43C2}" sibTransId="{1C570D37-DE91-4AFB-88E9-38BA7FE09827}"/>
    <dgm:cxn modelId="{DB938AAA-1D9D-44D0-ABD4-70B66E97A34B}" type="presOf" srcId="{DF7312F5-2151-4B18-9FE3-27B38D9DAE81}" destId="{1EF007DE-E38E-41BB-9C84-DBA6EE5550E0}" srcOrd="0" destOrd="0" presId="urn:microsoft.com/office/officeart/2008/layout/VerticalCircleList"/>
    <dgm:cxn modelId="{2CD6A380-CA2A-4E26-893E-ECC0F87785EB}" type="presOf" srcId="{886FCA53-2B50-4919-9D84-B3341636C061}" destId="{AF161DBD-193F-4E53-9953-839E85CF1C7D}" srcOrd="0" destOrd="0" presId="urn:microsoft.com/office/officeart/2008/layout/VerticalCircleList"/>
    <dgm:cxn modelId="{7ECF5CF4-D9A6-4865-B859-0881B4FB22E1}" type="presParOf" srcId="{AF161DBD-193F-4E53-9953-839E85CF1C7D}" destId="{41EEB0CA-07A8-4FF5-8967-C48F01E36B29}" srcOrd="0" destOrd="0" presId="urn:microsoft.com/office/officeart/2008/layout/VerticalCircleList"/>
    <dgm:cxn modelId="{52AF2779-7A76-47C2-B3E4-54A68D060207}" type="presParOf" srcId="{41EEB0CA-07A8-4FF5-8967-C48F01E36B29}" destId="{AAA1C512-E96F-4798-9282-083A0E274468}" srcOrd="0" destOrd="0" presId="urn:microsoft.com/office/officeart/2008/layout/VerticalCircleList"/>
    <dgm:cxn modelId="{DEAABE35-D630-48B0-A991-9E6FB95F5B07}" type="presParOf" srcId="{41EEB0CA-07A8-4FF5-8967-C48F01E36B29}" destId="{74BC567D-A420-4605-8CAF-34A3430FBCC5}" srcOrd="1" destOrd="0" presId="urn:microsoft.com/office/officeart/2008/layout/VerticalCircleList"/>
    <dgm:cxn modelId="{EC232F1E-A88C-4B5D-9FA3-471B5B06DE3D}"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31" minVer="http://schemas.openxmlformats.org/drawingml/2006/diagram"/>
    </a:ext>
  </dgm:extLst>
</dgm:dataModel>
</file>

<file path=ppt/diagrams/data48.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Sostegno a Fondi di Venture Capital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5D8DBDB3-37C7-4562-AEC9-31D48D983313}" type="presOf" srcId="{886FCA53-2B50-4919-9D84-B3341636C061}" destId="{AF161DBD-193F-4E53-9953-839E85CF1C7D}"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748057DE-70C6-4B82-BBDA-25CBF99AE9E8}" type="presOf" srcId="{DF7312F5-2151-4B18-9FE3-27B38D9DAE81}" destId="{1EF007DE-E38E-41BB-9C84-DBA6EE5550E0}" srcOrd="0" destOrd="0" presId="urn:microsoft.com/office/officeart/2008/layout/VerticalCircleList"/>
    <dgm:cxn modelId="{90D6FB5A-6420-4C4D-8991-6E7355B12208}" type="presParOf" srcId="{AF161DBD-193F-4E53-9953-839E85CF1C7D}" destId="{41EEB0CA-07A8-4FF5-8967-C48F01E36B29}" srcOrd="0" destOrd="0" presId="urn:microsoft.com/office/officeart/2008/layout/VerticalCircleList"/>
    <dgm:cxn modelId="{4DE49124-F087-470D-B30A-ADE0721E75AA}" type="presParOf" srcId="{41EEB0CA-07A8-4FF5-8967-C48F01E36B29}" destId="{AAA1C512-E96F-4798-9282-083A0E274468}" srcOrd="0" destOrd="0" presId="urn:microsoft.com/office/officeart/2008/layout/VerticalCircleList"/>
    <dgm:cxn modelId="{6DEFFA36-2088-4102-9B14-06F2D64C6802}" type="presParOf" srcId="{41EEB0CA-07A8-4FF5-8967-C48F01E36B29}" destId="{74BC567D-A420-4605-8CAF-34A3430FBCC5}" srcOrd="1" destOrd="0" presId="urn:microsoft.com/office/officeart/2008/layout/VerticalCircleList"/>
    <dgm:cxn modelId="{145BA9D3-CE8E-4994-A556-2D3DBF1A16AC}"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36" minVer="http://schemas.openxmlformats.org/drawingml/2006/diagram"/>
    </a:ext>
  </dgm:extLst>
</dgm:dataModel>
</file>

<file path=ppt/diagrams/data49.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algn="just" rtl="0">
            <a:lnSpc>
              <a:spcPct val="100000"/>
            </a:lnSpc>
            <a:spcAft>
              <a:spcPts val="0"/>
            </a:spcAft>
          </a:pPr>
          <a:r>
            <a:rPr lang="it-IT" sz="1500" b="1" dirty="0" smtClean="0">
              <a:solidFill>
                <a:schemeClr val="tx1"/>
              </a:solidFill>
              <a:latin typeface="Calibri" panose="020F0502020204030204" pitchFamily="34" charset="0"/>
            </a:rPr>
            <a:t>Incentivi</a:t>
          </a:r>
        </a:p>
        <a:p>
          <a:pPr algn="l" rtl="0">
            <a:lnSpc>
              <a:spcPct val="100000"/>
            </a:lnSpc>
            <a:spcAft>
              <a:spcPts val="0"/>
            </a:spcAft>
          </a:pPr>
          <a:r>
            <a:rPr lang="it-IT" sz="1500" b="1" dirty="0" smtClean="0">
              <a:solidFill>
                <a:schemeClr val="tx1"/>
              </a:solidFill>
              <a:latin typeface="Calibri" panose="020F0502020204030204" pitchFamily="34" charset="0"/>
            </a:rPr>
            <a:t> </a:t>
          </a:r>
          <a:r>
            <a:rPr lang="it-IT" sz="1500" b="0" i="1" dirty="0" smtClean="0">
              <a:solidFill>
                <a:schemeClr val="tx1"/>
              </a:solidFill>
              <a:latin typeface="Calibri" panose="020F0502020204030204" pitchFamily="34" charset="0"/>
            </a:rPr>
            <a:t>a</a:t>
          </a:r>
          <a:r>
            <a:rPr lang="it-IT" sz="1500" b="1" dirty="0" smtClean="0">
              <a:solidFill>
                <a:schemeClr val="tx1"/>
              </a:solidFill>
              <a:latin typeface="Calibri" panose="020F0502020204030204" pitchFamily="34" charset="0"/>
            </a:rPr>
            <a:t> </a:t>
          </a:r>
          <a:r>
            <a:rPr lang="it-IT" sz="1500" b="0" i="1" dirty="0" smtClean="0">
              <a:solidFill>
                <a:schemeClr val="tx1"/>
              </a:solidFill>
              <a:latin typeface="Calibri" panose="020F0502020204030204" pitchFamily="34" charset="0"/>
            </a:rPr>
            <a:t>brevettazione, prototipazione e copertura costi fase pre seed</a:t>
          </a:r>
          <a:endParaRPr lang="it-IT" sz="1500" b="0" i="1" dirty="0">
            <a:solidFill>
              <a:schemeClr val="tx1"/>
            </a:solidFill>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640909BF-20AB-4E56-BF18-FECEEDED5709}" type="presOf" srcId="{DF7312F5-2151-4B18-9FE3-27B38D9DAE81}" destId="{1EF007DE-E38E-41BB-9C84-DBA6EE5550E0}"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F350228F-08BC-48FC-9D5B-D4DBC21A3676}" type="presOf" srcId="{886FCA53-2B50-4919-9D84-B3341636C061}" destId="{AF161DBD-193F-4E53-9953-839E85CF1C7D}" srcOrd="0" destOrd="0" presId="urn:microsoft.com/office/officeart/2008/layout/VerticalCircleList"/>
    <dgm:cxn modelId="{548BB57B-49EC-483F-BBFD-AA25FF8C2EFD}" type="presParOf" srcId="{AF161DBD-193F-4E53-9953-839E85CF1C7D}" destId="{41EEB0CA-07A8-4FF5-8967-C48F01E36B29}" srcOrd="0" destOrd="0" presId="urn:microsoft.com/office/officeart/2008/layout/VerticalCircleList"/>
    <dgm:cxn modelId="{B7B67F59-AC22-4C1D-BF65-7DB4B92F829B}" type="presParOf" srcId="{41EEB0CA-07A8-4FF5-8967-C48F01E36B29}" destId="{AAA1C512-E96F-4798-9282-083A0E274468}" srcOrd="0" destOrd="0" presId="urn:microsoft.com/office/officeart/2008/layout/VerticalCircleList"/>
    <dgm:cxn modelId="{35FB194B-3705-4D1A-AA7F-769C961A0641}" type="presParOf" srcId="{41EEB0CA-07A8-4FF5-8967-C48F01E36B29}" destId="{74BC567D-A420-4605-8CAF-34A3430FBCC5}" srcOrd="1" destOrd="0" presId="urn:microsoft.com/office/officeart/2008/layout/VerticalCircleList"/>
    <dgm:cxn modelId="{6A6E935F-4481-4C73-A519-728C0C66870E}"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4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custT="1"/>
      <dgm:spPr/>
      <dgm:t>
        <a:bodyPr/>
        <a:lstStyle/>
        <a:p>
          <a:pPr rtl="0"/>
          <a:r>
            <a:rPr lang="it-IT" sz="4000" b="1" dirty="0" smtClean="0">
              <a:solidFill>
                <a:schemeClr val="accent1">
                  <a:lumMod val="75000"/>
                </a:schemeClr>
              </a:solidFill>
            </a:rPr>
            <a:t>Cosa dobbiamo fare</a:t>
          </a:r>
          <a:endParaRPr lang="it-IT" sz="4000" b="1" dirty="0">
            <a:solidFill>
              <a:schemeClr val="accent1">
                <a:lumMod val="75000"/>
              </a:schemeClr>
            </a:solidFill>
          </a:endParaRPr>
        </a:p>
      </dgm:t>
    </dgm:pt>
    <dgm:pt modelId="{4AA17FDB-A052-4790-AE95-CF73ACE16E71}" type="parTrans" cxnId="{61C24A8C-0B83-4B1F-AD85-E5EDDAA1AC00}">
      <dgm:prSet/>
      <dgm:spPr/>
      <dgm:t>
        <a:bodyPr/>
        <a:lstStyle/>
        <a:p>
          <a:endParaRPr lang="it-IT" sz="4000"/>
        </a:p>
      </dgm:t>
    </dgm:pt>
    <dgm:pt modelId="{C167467F-04BA-4DE5-90F4-5BF53279866E}" type="sibTrans" cxnId="{61C24A8C-0B83-4B1F-AD85-E5EDDAA1AC00}">
      <dgm:prSet/>
      <dgm:spPr/>
      <dgm:t>
        <a:bodyPr/>
        <a:lstStyle/>
        <a:p>
          <a:endParaRPr lang="it-IT" sz="4000"/>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77B8B8C7-4122-42A2-B5A2-FF900C6E2B05}" type="presOf" srcId="{37F295A9-2A2E-416D-9AE6-C3404377959E}" destId="{58FB0A67-F67A-40BA-890E-A840ED83B605}" srcOrd="0" destOrd="0" presId="urn:microsoft.com/office/officeart/2008/layout/LinedList"/>
    <dgm:cxn modelId="{6E7943CF-BF91-4AD0-8CFB-DCA78DFA6C27}" type="presOf" srcId="{2BF37BE0-F1C9-4327-8D6B-194C8F2CF94F}" destId="{7D920113-6D83-4974-923F-4CAA40CA2FDB}"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373CD19F-25D2-4269-867B-9A3BF4627EFB}" type="presParOf" srcId="{58FB0A67-F67A-40BA-890E-A840ED83B605}" destId="{AB26EC88-0333-42E8-B340-C2B4FE18384A}" srcOrd="0" destOrd="0" presId="urn:microsoft.com/office/officeart/2008/layout/LinedList"/>
    <dgm:cxn modelId="{3E760791-5F7E-47E3-A115-3A59FA7EC286}" type="presParOf" srcId="{58FB0A67-F67A-40BA-890E-A840ED83B605}" destId="{45792684-4DE0-4EDD-B49A-A40AB3BD4B9E}" srcOrd="1" destOrd="0" presId="urn:microsoft.com/office/officeart/2008/layout/LinedList"/>
    <dgm:cxn modelId="{00D22FCC-872A-459A-B8C3-1168A25D2848}" type="presParOf" srcId="{45792684-4DE0-4EDD-B49A-A40AB3BD4B9E}" destId="{7D920113-6D83-4974-923F-4CAA40CA2FDB}" srcOrd="0" destOrd="0" presId="urn:microsoft.com/office/officeart/2008/layout/LinedList"/>
    <dgm:cxn modelId="{DD59D7FD-BDC5-4BA6-9FDD-4D16C803AE08}"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0.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Voucher Tecnologici e all’acquisizione di KIBS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6DD439E5-8FFB-4697-A812-8836783027C9}" srcId="{886FCA53-2B50-4919-9D84-B3341636C061}" destId="{DF7312F5-2151-4B18-9FE3-27B38D9DAE81}" srcOrd="0" destOrd="0" parTransId="{6C4FDA34-2D2E-48DD-801A-F591B8DE43C2}" sibTransId="{1C570D37-DE91-4AFB-88E9-38BA7FE09827}"/>
    <dgm:cxn modelId="{94070FAD-ED5E-4B2D-9FA8-AB4BA1F14D91}" type="presOf" srcId="{DF7312F5-2151-4B18-9FE3-27B38D9DAE81}" destId="{1EF007DE-E38E-41BB-9C84-DBA6EE5550E0}" srcOrd="0" destOrd="0" presId="urn:microsoft.com/office/officeart/2008/layout/VerticalCircleList"/>
    <dgm:cxn modelId="{06A93922-4221-41A5-92FE-5B276EA52D91}" type="presOf" srcId="{886FCA53-2B50-4919-9D84-B3341636C061}" destId="{AF161DBD-193F-4E53-9953-839E85CF1C7D}" srcOrd="0" destOrd="0" presId="urn:microsoft.com/office/officeart/2008/layout/VerticalCircleList"/>
    <dgm:cxn modelId="{F5F74A43-40E2-4AFE-A802-5734FD1B1B7F}" type="presParOf" srcId="{AF161DBD-193F-4E53-9953-839E85CF1C7D}" destId="{41EEB0CA-07A8-4FF5-8967-C48F01E36B29}" srcOrd="0" destOrd="0" presId="urn:microsoft.com/office/officeart/2008/layout/VerticalCircleList"/>
    <dgm:cxn modelId="{5B2FC0FA-8CBB-4384-BB80-276524A6092D}" type="presParOf" srcId="{41EEB0CA-07A8-4FF5-8967-C48F01E36B29}" destId="{AAA1C512-E96F-4798-9282-083A0E274468}" srcOrd="0" destOrd="0" presId="urn:microsoft.com/office/officeart/2008/layout/VerticalCircleList"/>
    <dgm:cxn modelId="{E96C812C-5663-41F3-B199-C76CF3420DF9}" type="presParOf" srcId="{41EEB0CA-07A8-4FF5-8967-C48F01E36B29}" destId="{74BC567D-A420-4605-8CAF-34A3430FBCC5}" srcOrd="1" destOrd="0" presId="urn:microsoft.com/office/officeart/2008/layout/VerticalCircleList"/>
    <dgm:cxn modelId="{AE6BA0C2-7A32-4C2B-8406-8EBA391231DA}"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46" minVer="http://schemas.openxmlformats.org/drawingml/2006/diagram"/>
    </a:ext>
  </dgm:extLst>
</dgm:dataModel>
</file>

<file path=ppt/diagrams/data51.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Incentivi all’innovazione sociale</a:t>
          </a:r>
        </a:p>
        <a:p>
          <a:pPr rtl="0">
            <a:lnSpc>
              <a:spcPct val="100000"/>
            </a:lnSpc>
            <a:spcAft>
              <a:spcPts val="0"/>
            </a:spcAft>
          </a:pPr>
          <a:r>
            <a:rPr lang="it-IT" sz="1500" dirty="0" smtClean="0">
              <a:latin typeface="Calibri" panose="020F0502020204030204" pitchFamily="34" charset="0"/>
            </a:rPr>
            <a:t>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570E3BE1-2B0A-4E04-A099-46F2ACD5CD95}" type="presOf" srcId="{DF7312F5-2151-4B18-9FE3-27B38D9DAE81}" destId="{1EF007DE-E38E-41BB-9C84-DBA6EE5550E0}"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FA4CC05D-AFA0-4FFF-ACA9-A95F417B88CB}" type="presOf" srcId="{886FCA53-2B50-4919-9D84-B3341636C061}" destId="{AF161DBD-193F-4E53-9953-839E85CF1C7D}" srcOrd="0" destOrd="0" presId="urn:microsoft.com/office/officeart/2008/layout/VerticalCircleList"/>
    <dgm:cxn modelId="{741BD65F-10ED-48B8-98D9-DC3EFFDD5452}" type="presParOf" srcId="{AF161DBD-193F-4E53-9953-839E85CF1C7D}" destId="{41EEB0CA-07A8-4FF5-8967-C48F01E36B29}" srcOrd="0" destOrd="0" presId="urn:microsoft.com/office/officeart/2008/layout/VerticalCircleList"/>
    <dgm:cxn modelId="{AFFB0DDF-7633-4E7D-AD73-1F31A21084AD}" type="presParOf" srcId="{41EEB0CA-07A8-4FF5-8967-C48F01E36B29}" destId="{AAA1C512-E96F-4798-9282-083A0E274468}" srcOrd="0" destOrd="0" presId="urn:microsoft.com/office/officeart/2008/layout/VerticalCircleList"/>
    <dgm:cxn modelId="{F5F7945C-0F52-4B3C-8414-5D43400F5456}" type="presParOf" srcId="{41EEB0CA-07A8-4FF5-8967-C48F01E36B29}" destId="{74BC567D-A420-4605-8CAF-34A3430FBCC5}" srcOrd="1" destOrd="0" presId="urn:microsoft.com/office/officeart/2008/layout/VerticalCircleList"/>
    <dgm:cxn modelId="{1F9F6EF8-9FD1-45AD-A53E-3A42825E4C1E}"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51" minVer="http://schemas.openxmlformats.org/drawingml/2006/diagram"/>
    </a:ext>
  </dgm:extLst>
</dgm:dataModel>
</file>

<file path=ppt/diagrams/data52.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Azioni di attrazione di talenti</a:t>
          </a:r>
        </a:p>
        <a:p>
          <a:pPr rtl="0">
            <a:lnSpc>
              <a:spcPct val="100000"/>
            </a:lnSpc>
            <a:spcAft>
              <a:spcPts val="0"/>
            </a:spcAft>
          </a:pPr>
          <a:r>
            <a:rPr lang="it-IT" sz="1500" dirty="0" smtClean="0">
              <a:latin typeface="Calibri" panose="020F0502020204030204" pitchFamily="34" charset="0"/>
            </a:rPr>
            <a:t>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1AEC6CE9-62AE-4E82-A4A2-D1F794FA0663}" type="presOf" srcId="{DF7312F5-2151-4B18-9FE3-27B38D9DAE81}" destId="{1EF007DE-E38E-41BB-9C84-DBA6EE5550E0}"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3831D436-7985-4768-99D2-26957389FB15}" type="presOf" srcId="{886FCA53-2B50-4919-9D84-B3341636C061}" destId="{AF161DBD-193F-4E53-9953-839E85CF1C7D}" srcOrd="0" destOrd="0" presId="urn:microsoft.com/office/officeart/2008/layout/VerticalCircleList"/>
    <dgm:cxn modelId="{F50C1B90-73EE-4459-900A-99EF99F7F1DE}" type="presParOf" srcId="{AF161DBD-193F-4E53-9953-839E85CF1C7D}" destId="{41EEB0CA-07A8-4FF5-8967-C48F01E36B29}" srcOrd="0" destOrd="0" presId="urn:microsoft.com/office/officeart/2008/layout/VerticalCircleList"/>
    <dgm:cxn modelId="{325801AF-AF55-4385-B0D6-E00EF46206D1}" type="presParOf" srcId="{41EEB0CA-07A8-4FF5-8967-C48F01E36B29}" destId="{AAA1C512-E96F-4798-9282-083A0E274468}" srcOrd="0" destOrd="0" presId="urn:microsoft.com/office/officeart/2008/layout/VerticalCircleList"/>
    <dgm:cxn modelId="{BDA8F63E-AFFF-453E-BA69-EBFD47C3D100}" type="presParOf" srcId="{41EEB0CA-07A8-4FF5-8967-C48F01E36B29}" destId="{74BC567D-A420-4605-8CAF-34A3430FBCC5}" srcOrd="1" destOrd="0" presId="urn:microsoft.com/office/officeart/2008/layout/VerticalCircleList"/>
    <dgm:cxn modelId="{A8689C65-161F-4C45-956B-B8EB708F2163}"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56" minVer="http://schemas.openxmlformats.org/drawingml/2006/diagram"/>
    </a:ext>
  </dgm:extLst>
</dgm:dataModel>
</file>

<file path=ppt/diagrams/data53.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i="0" dirty="0" smtClean="0">
              <a:latin typeface="Calibri" panose="020F0502020204030204" pitchFamily="34" charset="0"/>
            </a:rPr>
            <a:t>Procurement</a:t>
          </a:r>
          <a:r>
            <a:rPr lang="it-IT" sz="1500" b="1" i="0" baseline="0" dirty="0" smtClean="0">
              <a:latin typeface="Calibri" panose="020F0502020204030204" pitchFamily="34" charset="0"/>
            </a:rPr>
            <a:t> precommerciale</a:t>
          </a:r>
          <a:endParaRPr lang="it-IT" sz="1500" b="1" i="0"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A71AC3E4-E34C-4A65-8863-2B7EF58B2876}" type="presOf" srcId="{DF7312F5-2151-4B18-9FE3-27B38D9DAE81}" destId="{1EF007DE-E38E-41BB-9C84-DBA6EE5550E0}"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2BC48249-28D9-423C-9F46-EC2753254B2A}" type="presOf" srcId="{886FCA53-2B50-4919-9D84-B3341636C061}" destId="{AF161DBD-193F-4E53-9953-839E85CF1C7D}" srcOrd="0" destOrd="0" presId="urn:microsoft.com/office/officeart/2008/layout/VerticalCircleList"/>
    <dgm:cxn modelId="{0B9A1B64-9483-4608-B317-C516DE0DE96A}" type="presParOf" srcId="{AF161DBD-193F-4E53-9953-839E85CF1C7D}" destId="{41EEB0CA-07A8-4FF5-8967-C48F01E36B29}" srcOrd="0" destOrd="0" presId="urn:microsoft.com/office/officeart/2008/layout/VerticalCircleList"/>
    <dgm:cxn modelId="{E8DE2AE8-9C7B-471B-B2FB-E198593B3746}" type="presParOf" srcId="{41EEB0CA-07A8-4FF5-8967-C48F01E36B29}" destId="{AAA1C512-E96F-4798-9282-083A0E274468}" srcOrd="0" destOrd="0" presId="urn:microsoft.com/office/officeart/2008/layout/VerticalCircleList"/>
    <dgm:cxn modelId="{AD78BF32-23A9-4567-9CFD-9BC358F532CF}" type="presParOf" srcId="{41EEB0CA-07A8-4FF5-8967-C48F01E36B29}" destId="{74BC567D-A420-4605-8CAF-34A3430FBCC5}" srcOrd="1" destOrd="0" presId="urn:microsoft.com/office/officeart/2008/layout/VerticalCircleList"/>
    <dgm:cxn modelId="{3165C77B-EF34-40AC-825D-A7480CE5BB0A}"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61" minVer="http://schemas.openxmlformats.org/drawingml/2006/diagram"/>
    </a:ext>
  </dgm:extLst>
</dgm:dataModel>
</file>

<file path=ppt/diagrams/data54.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i="0" dirty="0" smtClean="0">
              <a:latin typeface="Calibri" panose="020F0502020204030204" pitchFamily="34" charset="0"/>
            </a:rPr>
            <a:t>Living</a:t>
          </a:r>
          <a:r>
            <a:rPr lang="it-IT" sz="1500" b="1" i="0" baseline="0" dirty="0" smtClean="0">
              <a:latin typeface="Calibri" panose="020F0502020204030204" pitchFamily="34" charset="0"/>
            </a:rPr>
            <a:t> Labs e Fab Labs</a:t>
          </a:r>
          <a:endParaRPr lang="it-IT" sz="1500" b="1" i="0"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E7C4EAC0-6E1A-4C43-B9BB-F61DCD7BF6FC}" type="presOf" srcId="{886FCA53-2B50-4919-9D84-B3341636C061}" destId="{AF161DBD-193F-4E53-9953-839E85CF1C7D}" srcOrd="0" destOrd="0" presId="urn:microsoft.com/office/officeart/2008/layout/VerticalCircleList"/>
    <dgm:cxn modelId="{3F88B7C2-A2A5-4DBE-836B-3068C7776B99}" type="presOf" srcId="{DF7312F5-2151-4B18-9FE3-27B38D9DAE81}" destId="{1EF007DE-E38E-41BB-9C84-DBA6EE5550E0}"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BCE7C5A9-EEE7-4C5F-AAC2-C2F1683A3379}" type="presParOf" srcId="{AF161DBD-193F-4E53-9953-839E85CF1C7D}" destId="{41EEB0CA-07A8-4FF5-8967-C48F01E36B29}" srcOrd="0" destOrd="0" presId="urn:microsoft.com/office/officeart/2008/layout/VerticalCircleList"/>
    <dgm:cxn modelId="{9FE6988C-9EBB-4687-810F-9E49A428B2EE}" type="presParOf" srcId="{41EEB0CA-07A8-4FF5-8967-C48F01E36B29}" destId="{AAA1C512-E96F-4798-9282-083A0E274468}" srcOrd="0" destOrd="0" presId="urn:microsoft.com/office/officeart/2008/layout/VerticalCircleList"/>
    <dgm:cxn modelId="{CACE34C5-1C91-4280-85CE-C53DD6366CA4}" type="presParOf" srcId="{41EEB0CA-07A8-4FF5-8967-C48F01E36B29}" destId="{74BC567D-A420-4605-8CAF-34A3430FBCC5}" srcOrd="1" destOrd="0" presId="urn:microsoft.com/office/officeart/2008/layout/VerticalCircleList"/>
    <dgm:cxn modelId="{629249E5-8AC5-4A6D-B0FD-66B20FA7D369}"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66" minVer="http://schemas.openxmlformats.org/drawingml/2006/diagram"/>
    </a:ext>
  </dgm:extLst>
</dgm:dataModel>
</file>

<file path=ppt/diagrams/data55.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i="0" dirty="0" smtClean="0">
              <a:latin typeface="Calibri" panose="020F0502020204030204" pitchFamily="34" charset="0"/>
            </a:rPr>
            <a:t>Formazione</a:t>
          </a:r>
          <a:r>
            <a:rPr lang="it-IT" sz="1500" b="1" i="0" baseline="0" dirty="0" smtClean="0">
              <a:latin typeface="Calibri" panose="020F0502020204030204" pitchFamily="34" charset="0"/>
            </a:rPr>
            <a:t> continua e permanente su ICT</a:t>
          </a:r>
          <a:endParaRPr lang="it-IT" sz="1500" b="1" i="0"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6DD439E5-8FFB-4697-A812-8836783027C9}" srcId="{886FCA53-2B50-4919-9D84-B3341636C061}" destId="{DF7312F5-2151-4B18-9FE3-27B38D9DAE81}" srcOrd="0" destOrd="0" parTransId="{6C4FDA34-2D2E-48DD-801A-F591B8DE43C2}" sibTransId="{1C570D37-DE91-4AFB-88E9-38BA7FE09827}"/>
    <dgm:cxn modelId="{3D0976D9-6933-4CD8-8C69-B5FDDF26FEF1}" type="presOf" srcId="{DF7312F5-2151-4B18-9FE3-27B38D9DAE81}" destId="{1EF007DE-E38E-41BB-9C84-DBA6EE5550E0}" srcOrd="0" destOrd="0" presId="urn:microsoft.com/office/officeart/2008/layout/VerticalCircleList"/>
    <dgm:cxn modelId="{AF6BEE64-109E-4745-A5EE-CF41E2518654}" type="presOf" srcId="{886FCA53-2B50-4919-9D84-B3341636C061}" destId="{AF161DBD-193F-4E53-9953-839E85CF1C7D}" srcOrd="0" destOrd="0" presId="urn:microsoft.com/office/officeart/2008/layout/VerticalCircleList"/>
    <dgm:cxn modelId="{365B5555-8C09-4A3C-B1BF-AFECD03163AE}" type="presParOf" srcId="{AF161DBD-193F-4E53-9953-839E85CF1C7D}" destId="{41EEB0CA-07A8-4FF5-8967-C48F01E36B29}" srcOrd="0" destOrd="0" presId="urn:microsoft.com/office/officeart/2008/layout/VerticalCircleList"/>
    <dgm:cxn modelId="{03E0A6C8-4737-42A7-97CB-4473E86DA5B3}" type="presParOf" srcId="{41EEB0CA-07A8-4FF5-8967-C48F01E36B29}" destId="{AAA1C512-E96F-4798-9282-083A0E274468}" srcOrd="0" destOrd="0" presId="urn:microsoft.com/office/officeart/2008/layout/VerticalCircleList"/>
    <dgm:cxn modelId="{4879F6F3-8495-4179-84DD-73B49D7AA84A}" type="presParOf" srcId="{41EEB0CA-07A8-4FF5-8967-C48F01E36B29}" destId="{74BC567D-A420-4605-8CAF-34A3430FBCC5}" srcOrd="1" destOrd="0" presId="urn:microsoft.com/office/officeart/2008/layout/VerticalCircleList"/>
    <dgm:cxn modelId="{62FAC9E2-88FA-441C-A66D-D2FA5089983D}"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71" minVer="http://schemas.openxmlformats.org/drawingml/2006/diagram"/>
    </a:ext>
  </dgm:extLst>
</dgm:dataModel>
</file>

<file path=ppt/diagrams/data56.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i="0" dirty="0" smtClean="0">
              <a:latin typeface="Calibri" panose="020F0502020204030204" pitchFamily="34" charset="0"/>
            </a:rPr>
            <a:t>Sostegno a PEI</a:t>
          </a:r>
          <a:endParaRPr lang="it-IT" sz="1500" b="1" i="0"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EB06A6CA-2DAC-4C50-940E-2C835414D9EE}" type="presOf" srcId="{DF7312F5-2151-4B18-9FE3-27B38D9DAE81}" destId="{1EF007DE-E38E-41BB-9C84-DBA6EE5550E0}"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B8DC1579-7656-4D0A-81F3-C8A42B8E2926}" type="presOf" srcId="{886FCA53-2B50-4919-9D84-B3341636C061}" destId="{AF161DBD-193F-4E53-9953-839E85CF1C7D}" srcOrd="0" destOrd="0" presId="urn:microsoft.com/office/officeart/2008/layout/VerticalCircleList"/>
    <dgm:cxn modelId="{801866E0-AB70-4BF4-B443-B57C80B7F8F8}" type="presParOf" srcId="{AF161DBD-193F-4E53-9953-839E85CF1C7D}" destId="{41EEB0CA-07A8-4FF5-8967-C48F01E36B29}" srcOrd="0" destOrd="0" presId="urn:microsoft.com/office/officeart/2008/layout/VerticalCircleList"/>
    <dgm:cxn modelId="{D7BA4E15-BAB6-44F7-96FE-F7C9BFFCBC4E}" type="presParOf" srcId="{41EEB0CA-07A8-4FF5-8967-C48F01E36B29}" destId="{AAA1C512-E96F-4798-9282-083A0E274468}" srcOrd="0" destOrd="0" presId="urn:microsoft.com/office/officeart/2008/layout/VerticalCircleList"/>
    <dgm:cxn modelId="{3A9A68B1-47C9-40EB-9D67-8430BB652264}" type="presParOf" srcId="{41EEB0CA-07A8-4FF5-8967-C48F01E36B29}" destId="{74BC567D-A420-4605-8CAF-34A3430FBCC5}" srcOrd="1" destOrd="0" presId="urn:microsoft.com/office/officeart/2008/layout/VerticalCircleList"/>
    <dgm:cxn modelId="{C48D6395-21C7-4946-9C1F-36CCC1A4D30B}"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76" minVer="http://schemas.openxmlformats.org/drawingml/2006/diagram"/>
    </a:ext>
  </dgm:extLst>
</dgm:dataModel>
</file>

<file path=ppt/diagrams/data57.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i="0" dirty="0" smtClean="0">
              <a:latin typeface="Calibri" panose="020F0502020204030204" pitchFamily="34" charset="0"/>
            </a:rPr>
            <a:t>Formazione Open </a:t>
          </a:r>
          <a:r>
            <a:rPr lang="it-IT" sz="1500" b="1" i="0" dirty="0" err="1" smtClean="0">
              <a:latin typeface="Calibri" panose="020F0502020204030204" pitchFamily="34" charset="0"/>
            </a:rPr>
            <a:t>Government</a:t>
          </a:r>
          <a:endParaRPr lang="it-IT" sz="1500" b="1" i="0"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2C613E97-F55C-4009-9155-76C1A54ED4D8}" type="presOf" srcId="{DF7312F5-2151-4B18-9FE3-27B38D9DAE81}" destId="{1EF007DE-E38E-41BB-9C84-DBA6EE5550E0}"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4064452D-D43B-4C52-865C-8F2D8B406785}" type="presOf" srcId="{886FCA53-2B50-4919-9D84-B3341636C061}" destId="{AF161DBD-193F-4E53-9953-839E85CF1C7D}" srcOrd="0" destOrd="0" presId="urn:microsoft.com/office/officeart/2008/layout/VerticalCircleList"/>
    <dgm:cxn modelId="{07E59A91-E63C-41AD-A5E2-D23CA490F159}" type="presParOf" srcId="{AF161DBD-193F-4E53-9953-839E85CF1C7D}" destId="{41EEB0CA-07A8-4FF5-8967-C48F01E36B29}" srcOrd="0" destOrd="0" presId="urn:microsoft.com/office/officeart/2008/layout/VerticalCircleList"/>
    <dgm:cxn modelId="{B6984EFE-CFEC-4D83-B356-16B65B8DDDCE}" type="presParOf" srcId="{41EEB0CA-07A8-4FF5-8967-C48F01E36B29}" destId="{AAA1C512-E96F-4798-9282-083A0E274468}" srcOrd="0" destOrd="0" presId="urn:microsoft.com/office/officeart/2008/layout/VerticalCircleList"/>
    <dgm:cxn modelId="{35A07FC2-2C87-46AA-B943-6E712EEA5F92}" type="presParOf" srcId="{41EEB0CA-07A8-4FF5-8967-C48F01E36B29}" destId="{74BC567D-A420-4605-8CAF-34A3430FBCC5}" srcOrd="1" destOrd="0" presId="urn:microsoft.com/office/officeart/2008/layout/VerticalCircleList"/>
    <dgm:cxn modelId="{D90067BB-930D-4CDA-B99C-EFD788B0785F}"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81" minVer="http://schemas.openxmlformats.org/drawingml/2006/diagram"/>
    </a:ext>
  </dgm:extLst>
</dgm:dataModel>
</file>

<file path=ppt/diagrams/data58.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i="0" dirty="0" smtClean="0">
              <a:latin typeface="Calibri" panose="020F0502020204030204" pitchFamily="34" charset="0"/>
            </a:rPr>
            <a:t>Iniziative pilote di scambio transnazionale</a:t>
          </a:r>
          <a:endParaRPr lang="it-IT" sz="1500" b="1" i="0"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6DD439E5-8FFB-4697-A812-8836783027C9}" srcId="{886FCA53-2B50-4919-9D84-B3341636C061}" destId="{DF7312F5-2151-4B18-9FE3-27B38D9DAE81}" srcOrd="0" destOrd="0" parTransId="{6C4FDA34-2D2E-48DD-801A-F591B8DE43C2}" sibTransId="{1C570D37-DE91-4AFB-88E9-38BA7FE09827}"/>
    <dgm:cxn modelId="{2F3021D5-E8E8-424B-9F41-0C3E5E649C5E}" type="presOf" srcId="{DF7312F5-2151-4B18-9FE3-27B38D9DAE81}" destId="{1EF007DE-E38E-41BB-9C84-DBA6EE5550E0}" srcOrd="0" destOrd="0" presId="urn:microsoft.com/office/officeart/2008/layout/VerticalCircleList"/>
    <dgm:cxn modelId="{6A294CC1-542E-4D37-A050-5D0608F6BC15}" type="presOf" srcId="{886FCA53-2B50-4919-9D84-B3341636C061}" destId="{AF161DBD-193F-4E53-9953-839E85CF1C7D}" srcOrd="0" destOrd="0" presId="urn:microsoft.com/office/officeart/2008/layout/VerticalCircleList"/>
    <dgm:cxn modelId="{2AB4C9C2-7A4E-4B39-88C8-10F59D6BD813}" type="presParOf" srcId="{AF161DBD-193F-4E53-9953-839E85CF1C7D}" destId="{41EEB0CA-07A8-4FF5-8967-C48F01E36B29}" srcOrd="0" destOrd="0" presId="urn:microsoft.com/office/officeart/2008/layout/VerticalCircleList"/>
    <dgm:cxn modelId="{7AFD1D24-1856-499F-BC6D-E554C731285D}" type="presParOf" srcId="{41EEB0CA-07A8-4FF5-8967-C48F01E36B29}" destId="{AAA1C512-E96F-4798-9282-083A0E274468}" srcOrd="0" destOrd="0" presId="urn:microsoft.com/office/officeart/2008/layout/VerticalCircleList"/>
    <dgm:cxn modelId="{0C003EDC-4131-4C81-B05D-EF4D6D924091}" type="presParOf" srcId="{41EEB0CA-07A8-4FF5-8967-C48F01E36B29}" destId="{74BC567D-A420-4605-8CAF-34A3430FBCC5}" srcOrd="1" destOrd="0" presId="urn:microsoft.com/office/officeart/2008/layout/VerticalCircleList"/>
    <dgm:cxn modelId="{FC39E72C-83E6-430D-BB06-F76D61E89271}"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86" minVer="http://schemas.openxmlformats.org/drawingml/2006/diagram"/>
    </a:ext>
  </dgm:extLst>
</dgm:dataModel>
</file>

<file path=ppt/diagrams/data59.xml><?xml version="1.0" encoding="utf-8"?>
<dgm:dataModel xmlns:dgm="http://schemas.openxmlformats.org/drawingml/2006/diagram" xmlns:a="http://schemas.openxmlformats.org/drawingml/2006/main">
  <dgm:ptLst>
    <dgm:pt modelId="{3471B385-D51D-4B62-9A6B-249C5AC9C98A}" type="doc">
      <dgm:prSet loTypeId="urn:microsoft.com/office/officeart/2005/8/layout/vList2" loCatId="list" qsTypeId="urn:microsoft.com/office/officeart/2005/8/quickstyle/simple1" qsCatId="simple" csTypeId="urn:microsoft.com/office/officeart/2005/8/colors/colorful1#1" csCatId="colorful"/>
      <dgm:spPr/>
      <dgm:t>
        <a:bodyPr/>
        <a:lstStyle/>
        <a:p>
          <a:endParaRPr lang="it-IT"/>
        </a:p>
      </dgm:t>
    </dgm:pt>
    <dgm:pt modelId="{3A5B02CC-7645-4578-B93E-5BB7EC17E14F}">
      <dgm:prSet custT="1"/>
      <dgm:spPr/>
      <dgm:t>
        <a:bodyPr/>
        <a:lstStyle/>
        <a:p>
          <a:pPr algn="ctr" rtl="0"/>
          <a:r>
            <a:rPr lang="it-IT" sz="1800" b="1" dirty="0" smtClean="0"/>
            <a:t>Delimitazione Perimetro d’Ambito </a:t>
          </a:r>
          <a:endParaRPr lang="it-IT" sz="1800" b="1" dirty="0"/>
        </a:p>
      </dgm:t>
    </dgm:pt>
    <dgm:pt modelId="{351EEFE8-C4BB-4CB7-AEBE-8201FB869313}" type="parTrans" cxnId="{1503FA43-4BF0-43A7-9A00-7EAC2347F067}">
      <dgm:prSet/>
      <dgm:spPr/>
      <dgm:t>
        <a:bodyPr/>
        <a:lstStyle/>
        <a:p>
          <a:pPr algn="ctr"/>
          <a:endParaRPr lang="it-IT"/>
        </a:p>
      </dgm:t>
    </dgm:pt>
    <dgm:pt modelId="{32FBC651-736E-4FFF-A514-285EE5B82172}" type="sibTrans" cxnId="{1503FA43-4BF0-43A7-9A00-7EAC2347F067}">
      <dgm:prSet/>
      <dgm:spPr/>
      <dgm:t>
        <a:bodyPr/>
        <a:lstStyle/>
        <a:p>
          <a:pPr algn="ctr"/>
          <a:endParaRPr lang="it-IT"/>
        </a:p>
      </dgm:t>
    </dgm:pt>
    <dgm:pt modelId="{0931DA6C-1101-4D88-9476-40F778BD96D7}" type="pres">
      <dgm:prSet presAssocID="{3471B385-D51D-4B62-9A6B-249C5AC9C98A}" presName="linear" presStyleCnt="0">
        <dgm:presLayoutVars>
          <dgm:animLvl val="lvl"/>
          <dgm:resizeHandles val="exact"/>
        </dgm:presLayoutVars>
      </dgm:prSet>
      <dgm:spPr/>
      <dgm:t>
        <a:bodyPr/>
        <a:lstStyle/>
        <a:p>
          <a:endParaRPr lang="it-IT"/>
        </a:p>
      </dgm:t>
    </dgm:pt>
    <dgm:pt modelId="{EA40DB6F-53FC-4451-8412-D98A1010BCCC}" type="pres">
      <dgm:prSet presAssocID="{3A5B02CC-7645-4578-B93E-5BB7EC17E14F}" presName="parentText" presStyleLbl="node1" presStyleIdx="0" presStyleCnt="1" custLinFactNeighborX="2752" custLinFactNeighborY="77991">
        <dgm:presLayoutVars>
          <dgm:chMax val="0"/>
          <dgm:bulletEnabled val="1"/>
        </dgm:presLayoutVars>
      </dgm:prSet>
      <dgm:spPr/>
      <dgm:t>
        <a:bodyPr/>
        <a:lstStyle/>
        <a:p>
          <a:endParaRPr lang="it-IT"/>
        </a:p>
      </dgm:t>
    </dgm:pt>
  </dgm:ptLst>
  <dgm:cxnLst>
    <dgm:cxn modelId="{E6A95748-5D55-48A4-B184-5C9EE407704A}" type="presOf" srcId="{3471B385-D51D-4B62-9A6B-249C5AC9C98A}" destId="{0931DA6C-1101-4D88-9476-40F778BD96D7}" srcOrd="0" destOrd="0" presId="urn:microsoft.com/office/officeart/2005/8/layout/vList2"/>
    <dgm:cxn modelId="{1503FA43-4BF0-43A7-9A00-7EAC2347F067}" srcId="{3471B385-D51D-4B62-9A6B-249C5AC9C98A}" destId="{3A5B02CC-7645-4578-B93E-5BB7EC17E14F}" srcOrd="0" destOrd="0" parTransId="{351EEFE8-C4BB-4CB7-AEBE-8201FB869313}" sibTransId="{32FBC651-736E-4FFF-A514-285EE5B82172}"/>
    <dgm:cxn modelId="{3862FACB-D371-4114-9672-2262DCBFC2B4}" type="presOf" srcId="{3A5B02CC-7645-4578-B93E-5BB7EC17E14F}" destId="{EA40DB6F-53FC-4451-8412-D98A1010BCCC}" srcOrd="0" destOrd="0" presId="urn:microsoft.com/office/officeart/2005/8/layout/vList2"/>
    <dgm:cxn modelId="{0CD4AAAB-0596-4DC5-9D74-7B5DA1D01299}" type="presParOf" srcId="{0931DA6C-1101-4D88-9476-40F778BD96D7}" destId="{EA40DB6F-53FC-4451-8412-D98A1010BCCC}"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E3B8733-AE13-4A7B-A32B-B74DE4C528D7}" type="doc">
      <dgm:prSet loTypeId="urn:microsoft.com/office/officeart/2005/8/layout/vList5" loCatId="list" qsTypeId="urn:microsoft.com/office/officeart/2005/8/quickstyle/3d1" qsCatId="3D" csTypeId="urn:microsoft.com/office/officeart/2005/8/colors/accent2_5" csCatId="accent2" phldr="1"/>
      <dgm:spPr/>
      <dgm:t>
        <a:bodyPr/>
        <a:lstStyle/>
        <a:p>
          <a:endParaRPr lang="it-IT"/>
        </a:p>
      </dgm:t>
    </dgm:pt>
    <dgm:pt modelId="{F23A2E33-A7A9-4C0C-9E2D-FE9B09B27B0C}">
      <dgm:prSet phldrT="[Testo]" custT="1"/>
      <dgm:spPr/>
      <dgm:t>
        <a:bodyPr/>
        <a:lstStyle/>
        <a:p>
          <a:r>
            <a:rPr lang="it-IT" sz="4400" b="1" dirty="0" smtClean="0"/>
            <a:t>Avvio tavolo</a:t>
          </a:r>
        </a:p>
        <a:p>
          <a:r>
            <a:rPr lang="it-IT" sz="4400" b="1" dirty="0" smtClean="0"/>
            <a:t>8 maggio 2014</a:t>
          </a:r>
          <a:endParaRPr lang="it-IT" sz="4400" b="1" dirty="0"/>
        </a:p>
      </dgm:t>
    </dgm:pt>
    <dgm:pt modelId="{4B3C5EFE-833D-4256-8D22-790DD4FEA846}" type="parTrans" cxnId="{AA13AB5C-83C5-45C1-864A-5D3145E95840}">
      <dgm:prSet/>
      <dgm:spPr/>
      <dgm:t>
        <a:bodyPr/>
        <a:lstStyle/>
        <a:p>
          <a:endParaRPr lang="it-IT"/>
        </a:p>
      </dgm:t>
    </dgm:pt>
    <dgm:pt modelId="{CE2E410B-761E-4681-BB83-5F0176147C43}" type="sibTrans" cxnId="{AA13AB5C-83C5-45C1-864A-5D3145E95840}">
      <dgm:prSet/>
      <dgm:spPr/>
      <dgm:t>
        <a:bodyPr/>
        <a:lstStyle/>
        <a:p>
          <a:endParaRPr lang="it-IT"/>
        </a:p>
      </dgm:t>
    </dgm:pt>
    <dgm:pt modelId="{FA935D20-D649-4F38-A41B-69E90530D632}">
      <dgm:prSet phldrT="[Testo]" custT="1"/>
      <dgm:spPr/>
      <dgm:t>
        <a:bodyPr/>
        <a:lstStyle/>
        <a:p>
          <a:r>
            <a:rPr lang="it-IT" sz="3600" b="0" dirty="0" smtClean="0">
              <a:solidFill>
                <a:schemeClr val="accent1"/>
              </a:solidFill>
            </a:rPr>
            <a:t>Avere il quadro chiaro dove inserire il proprio contributo</a:t>
          </a:r>
          <a:endParaRPr lang="it-IT" sz="3600" b="0" dirty="0">
            <a:solidFill>
              <a:schemeClr val="accent1"/>
            </a:solidFill>
          </a:endParaRPr>
        </a:p>
      </dgm:t>
    </dgm:pt>
    <dgm:pt modelId="{BFFBD901-FEFF-45F6-A478-CF6D74317EA2}" type="parTrans" cxnId="{E76A9A63-FF32-4781-921F-6A2A67CD1E02}">
      <dgm:prSet/>
      <dgm:spPr/>
      <dgm:t>
        <a:bodyPr/>
        <a:lstStyle/>
        <a:p>
          <a:endParaRPr lang="it-IT"/>
        </a:p>
      </dgm:t>
    </dgm:pt>
    <dgm:pt modelId="{75DA65DA-F2A3-4A8F-8248-871D3727B6B8}" type="sibTrans" cxnId="{E76A9A63-FF32-4781-921F-6A2A67CD1E02}">
      <dgm:prSet/>
      <dgm:spPr/>
      <dgm:t>
        <a:bodyPr/>
        <a:lstStyle/>
        <a:p>
          <a:endParaRPr lang="it-IT"/>
        </a:p>
      </dgm:t>
    </dgm:pt>
    <dgm:pt modelId="{D446E03B-A085-4EAF-A9D7-21D9E631073A}">
      <dgm:prSet phldrT="[Testo]" custT="1"/>
      <dgm:spPr/>
      <dgm:t>
        <a:bodyPr/>
        <a:lstStyle/>
        <a:p>
          <a:r>
            <a:rPr lang="it-IT" sz="3600" b="0" dirty="0" smtClean="0">
              <a:solidFill>
                <a:schemeClr val="accent1"/>
              </a:solidFill>
            </a:rPr>
            <a:t>Definire le modalità per l’elaborazione e/o l’invio del contributo</a:t>
          </a:r>
          <a:endParaRPr lang="it-IT" sz="3600" b="0" dirty="0">
            <a:solidFill>
              <a:schemeClr val="accent1"/>
            </a:solidFill>
          </a:endParaRPr>
        </a:p>
      </dgm:t>
    </dgm:pt>
    <dgm:pt modelId="{44FDFF5D-A5FE-4F6B-89B8-1FCC632B967C}" type="parTrans" cxnId="{BB9A4BB3-9E3F-4768-AB03-3A5823740DAC}">
      <dgm:prSet/>
      <dgm:spPr/>
    </dgm:pt>
    <dgm:pt modelId="{A44EEB28-BFA3-4413-89F9-8106007D5EF7}" type="sibTrans" cxnId="{BB9A4BB3-9E3F-4768-AB03-3A5823740DAC}">
      <dgm:prSet/>
      <dgm:spPr/>
    </dgm:pt>
    <dgm:pt modelId="{67CAF0F0-11C7-41D4-B458-17DD1ACC65D7}" type="pres">
      <dgm:prSet presAssocID="{BE3B8733-AE13-4A7B-A32B-B74DE4C528D7}" presName="Name0" presStyleCnt="0">
        <dgm:presLayoutVars>
          <dgm:dir/>
          <dgm:animLvl val="lvl"/>
          <dgm:resizeHandles val="exact"/>
        </dgm:presLayoutVars>
      </dgm:prSet>
      <dgm:spPr/>
      <dgm:t>
        <a:bodyPr/>
        <a:lstStyle/>
        <a:p>
          <a:endParaRPr lang="it-IT"/>
        </a:p>
      </dgm:t>
    </dgm:pt>
    <dgm:pt modelId="{91EF4C2B-0965-4D66-A48D-ECB7ACAE5C2D}" type="pres">
      <dgm:prSet presAssocID="{F23A2E33-A7A9-4C0C-9E2D-FE9B09B27B0C}" presName="linNode" presStyleCnt="0"/>
      <dgm:spPr/>
      <dgm:t>
        <a:bodyPr/>
        <a:lstStyle/>
        <a:p>
          <a:endParaRPr lang="it-IT"/>
        </a:p>
      </dgm:t>
    </dgm:pt>
    <dgm:pt modelId="{4B75031E-EAE2-44AE-A204-79AAE3CD8BF2}" type="pres">
      <dgm:prSet presAssocID="{F23A2E33-A7A9-4C0C-9E2D-FE9B09B27B0C}" presName="parentText" presStyleLbl="node1" presStyleIdx="0" presStyleCnt="1" custLinFactNeighborY="-1519">
        <dgm:presLayoutVars>
          <dgm:chMax val="1"/>
          <dgm:bulletEnabled val="1"/>
        </dgm:presLayoutVars>
      </dgm:prSet>
      <dgm:spPr/>
      <dgm:t>
        <a:bodyPr/>
        <a:lstStyle/>
        <a:p>
          <a:endParaRPr lang="it-IT"/>
        </a:p>
      </dgm:t>
    </dgm:pt>
    <dgm:pt modelId="{19C3370D-7B6A-4F3C-8C78-C38DF1D2FA31}" type="pres">
      <dgm:prSet presAssocID="{F23A2E33-A7A9-4C0C-9E2D-FE9B09B27B0C}" presName="descendantText" presStyleLbl="alignAccFollowNode1" presStyleIdx="0" presStyleCnt="1" custLinFactNeighborY="-5141">
        <dgm:presLayoutVars>
          <dgm:bulletEnabled val="1"/>
        </dgm:presLayoutVars>
      </dgm:prSet>
      <dgm:spPr/>
      <dgm:t>
        <a:bodyPr/>
        <a:lstStyle/>
        <a:p>
          <a:endParaRPr lang="it-IT"/>
        </a:p>
      </dgm:t>
    </dgm:pt>
  </dgm:ptLst>
  <dgm:cxnLst>
    <dgm:cxn modelId="{2214E401-AF1E-4432-B2A9-4C3A34EBE78E}" type="presOf" srcId="{D446E03B-A085-4EAF-A9D7-21D9E631073A}" destId="{19C3370D-7B6A-4F3C-8C78-C38DF1D2FA31}" srcOrd="0" destOrd="1" presId="urn:microsoft.com/office/officeart/2005/8/layout/vList5"/>
    <dgm:cxn modelId="{BB9A4BB3-9E3F-4768-AB03-3A5823740DAC}" srcId="{F23A2E33-A7A9-4C0C-9E2D-FE9B09B27B0C}" destId="{D446E03B-A085-4EAF-A9D7-21D9E631073A}" srcOrd="1" destOrd="0" parTransId="{44FDFF5D-A5FE-4F6B-89B8-1FCC632B967C}" sibTransId="{A44EEB28-BFA3-4413-89F9-8106007D5EF7}"/>
    <dgm:cxn modelId="{87C7F8D4-2759-41E2-A8A6-ABC895629CCE}" type="presOf" srcId="{FA935D20-D649-4F38-A41B-69E90530D632}" destId="{19C3370D-7B6A-4F3C-8C78-C38DF1D2FA31}" srcOrd="0" destOrd="0" presId="urn:microsoft.com/office/officeart/2005/8/layout/vList5"/>
    <dgm:cxn modelId="{AB0E1966-FC40-4FEB-86DF-B8262F4E4B03}" type="presOf" srcId="{BE3B8733-AE13-4A7B-A32B-B74DE4C528D7}" destId="{67CAF0F0-11C7-41D4-B458-17DD1ACC65D7}" srcOrd="0" destOrd="0" presId="urn:microsoft.com/office/officeart/2005/8/layout/vList5"/>
    <dgm:cxn modelId="{E76A9A63-FF32-4781-921F-6A2A67CD1E02}" srcId="{F23A2E33-A7A9-4C0C-9E2D-FE9B09B27B0C}" destId="{FA935D20-D649-4F38-A41B-69E90530D632}" srcOrd="0" destOrd="0" parTransId="{BFFBD901-FEFF-45F6-A478-CF6D74317EA2}" sibTransId="{75DA65DA-F2A3-4A8F-8248-871D3727B6B8}"/>
    <dgm:cxn modelId="{B5597B61-078F-4165-BB61-86B52E3C6B1E}" type="presOf" srcId="{F23A2E33-A7A9-4C0C-9E2D-FE9B09B27B0C}" destId="{4B75031E-EAE2-44AE-A204-79AAE3CD8BF2}" srcOrd="0" destOrd="0" presId="urn:microsoft.com/office/officeart/2005/8/layout/vList5"/>
    <dgm:cxn modelId="{AA13AB5C-83C5-45C1-864A-5D3145E95840}" srcId="{BE3B8733-AE13-4A7B-A32B-B74DE4C528D7}" destId="{F23A2E33-A7A9-4C0C-9E2D-FE9B09B27B0C}" srcOrd="0" destOrd="0" parTransId="{4B3C5EFE-833D-4256-8D22-790DD4FEA846}" sibTransId="{CE2E410B-761E-4681-BB83-5F0176147C43}"/>
    <dgm:cxn modelId="{A042EA1B-7068-44E5-8E7C-F3ECF63C9A1F}" type="presParOf" srcId="{67CAF0F0-11C7-41D4-B458-17DD1ACC65D7}" destId="{91EF4C2B-0965-4D66-A48D-ECB7ACAE5C2D}" srcOrd="0" destOrd="0" presId="urn:microsoft.com/office/officeart/2005/8/layout/vList5"/>
    <dgm:cxn modelId="{3A51FB25-3017-4F4B-9366-F71B806D4384}" type="presParOf" srcId="{91EF4C2B-0965-4D66-A48D-ECB7ACAE5C2D}" destId="{4B75031E-EAE2-44AE-A204-79AAE3CD8BF2}" srcOrd="0" destOrd="0" presId="urn:microsoft.com/office/officeart/2005/8/layout/vList5"/>
    <dgm:cxn modelId="{490EC4AA-8D98-49F0-A7A7-E590707F1AF6}" type="presParOf" srcId="{91EF4C2B-0965-4D66-A48D-ECB7ACAE5C2D}" destId="{19C3370D-7B6A-4F3C-8C78-C38DF1D2FA31}"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0.xml><?xml version="1.0" encoding="utf-8"?>
<dgm:dataModel xmlns:dgm="http://schemas.openxmlformats.org/drawingml/2006/diagram" xmlns:a="http://schemas.openxmlformats.org/drawingml/2006/main">
  <dgm:ptLst>
    <dgm:pt modelId="{1804A741-9ACA-4C13-93CC-08352E75C6DB}" type="doc">
      <dgm:prSet loTypeId="urn:microsoft.com/office/officeart/2008/layout/LinedList" loCatId="list" qsTypeId="urn:microsoft.com/office/officeart/2005/8/quickstyle/simple1" qsCatId="simple" csTypeId="urn:microsoft.com/office/officeart/2005/8/colors/accent2_1" csCatId="accent2" phldr="1"/>
      <dgm:spPr/>
      <dgm:t>
        <a:bodyPr/>
        <a:lstStyle/>
        <a:p>
          <a:endParaRPr lang="it-IT"/>
        </a:p>
      </dgm:t>
    </dgm:pt>
    <dgm:pt modelId="{FA69CB8F-815F-405D-AAFF-0C627A5A9E84}">
      <dgm:prSet custT="1"/>
      <dgm:spPr/>
      <dgm:t>
        <a:bodyPr/>
        <a:lstStyle/>
        <a:p>
          <a:pPr algn="just" rtl="0"/>
          <a:r>
            <a:rPr lang="it-IT" sz="1200" b="1" dirty="0" smtClean="0"/>
            <a:t>In Italia e in Sicilia -in modo particolare - tale ottica integrata diventa significativa (i) per la possibilità di valorizzare e rendere fruibile il consistente patrimonio storico-artistico-naturale esistente e (ii) per esplorare attraverso le nuove tecnologie digitali nuovi target di pubblico, nonché segmenti e potenzialità innovative da approfondire.</a:t>
          </a:r>
          <a:endParaRPr lang="it-IT" sz="1200" dirty="0"/>
        </a:p>
      </dgm:t>
    </dgm:pt>
    <dgm:pt modelId="{36D6FE2B-AF4E-4D1F-A2F8-62FB79D0D19E}" type="parTrans" cxnId="{9DAD39BB-60B1-469F-9B2F-3ECA492474FC}">
      <dgm:prSet/>
      <dgm:spPr/>
      <dgm:t>
        <a:bodyPr/>
        <a:lstStyle/>
        <a:p>
          <a:endParaRPr lang="it-IT"/>
        </a:p>
      </dgm:t>
    </dgm:pt>
    <dgm:pt modelId="{97BBCD0E-1E82-461D-A648-3CCC7B4FB1CD}" type="sibTrans" cxnId="{9DAD39BB-60B1-469F-9B2F-3ECA492474FC}">
      <dgm:prSet/>
      <dgm:spPr/>
      <dgm:t>
        <a:bodyPr/>
        <a:lstStyle/>
        <a:p>
          <a:endParaRPr lang="it-IT"/>
        </a:p>
      </dgm:t>
    </dgm:pt>
    <dgm:pt modelId="{37BF7776-AA1B-4399-BEC8-599A8E71872C}">
      <dgm:prSet custT="1"/>
      <dgm:spPr/>
      <dgm:t>
        <a:bodyPr/>
        <a:lstStyle/>
        <a:p>
          <a:pPr algn="just" rtl="0"/>
          <a:r>
            <a:rPr lang="it-IT" sz="1200" b="1" dirty="0" smtClean="0"/>
            <a:t>In Italia le definizioni di ICC più recenti e richiamate sono quelle fornite dal Libro Bianco sulla creatività del 2009 e dal successivo </a:t>
          </a:r>
          <a:r>
            <a:rPr lang="it-IT" sz="1200" b="1" dirty="0" smtClean="0">
              <a:solidFill>
                <a:srgbClr val="C00000"/>
              </a:solidFill>
            </a:rPr>
            <a:t>studio Symbola – UNIONCAMERE del 2011.</a:t>
          </a:r>
          <a:r>
            <a:rPr lang="it-IT" sz="1200" dirty="0" smtClean="0">
              <a:solidFill>
                <a:srgbClr val="C00000"/>
              </a:solidFill>
            </a:rPr>
            <a:t> </a:t>
          </a:r>
          <a:endParaRPr lang="it-IT" sz="1200" dirty="0">
            <a:solidFill>
              <a:srgbClr val="C00000"/>
            </a:solidFill>
          </a:endParaRPr>
        </a:p>
      </dgm:t>
    </dgm:pt>
    <dgm:pt modelId="{7786BA9C-14EB-4B06-8779-A6D2BC8A8AB9}" type="parTrans" cxnId="{44577182-1165-49EE-B419-F01097C21796}">
      <dgm:prSet/>
      <dgm:spPr/>
      <dgm:t>
        <a:bodyPr/>
        <a:lstStyle/>
        <a:p>
          <a:endParaRPr lang="it-IT"/>
        </a:p>
      </dgm:t>
    </dgm:pt>
    <dgm:pt modelId="{2582617E-45C8-41E5-AA27-CADA8B539A6D}" type="sibTrans" cxnId="{44577182-1165-49EE-B419-F01097C21796}">
      <dgm:prSet/>
      <dgm:spPr/>
      <dgm:t>
        <a:bodyPr/>
        <a:lstStyle/>
        <a:p>
          <a:endParaRPr lang="it-IT"/>
        </a:p>
      </dgm:t>
    </dgm:pt>
    <dgm:pt modelId="{03C0C41A-C8E0-414A-97B9-5BF408615906}">
      <dgm:prSet custT="1"/>
      <dgm:spPr/>
      <dgm:t>
        <a:bodyPr/>
        <a:lstStyle/>
        <a:p>
          <a:pPr algn="just" rtl="0"/>
          <a:r>
            <a:rPr lang="it-IT" sz="1200" b="1" dirty="0" smtClean="0"/>
            <a:t>Le industrie culturali’ sono quelle che producono e distribuiscono beni o servizi che, quando vengono concepiti, sono considerati possedere un carattere, un uso o uno scopo specifici che incorporano o trasmettono espressioni culturali, quale che sia il loro valore commerciale. Oltre ai settori tradizionali delle arti (spettacolo dal vivo, arti visive, patrimonio culturale – incluso il settore pubblico), questi beni e servizi comprendono anche film, Dvd e video, televisione e radio e videogiochi etc.</a:t>
          </a:r>
          <a:endParaRPr lang="it-IT" sz="1200" b="1" dirty="0"/>
        </a:p>
      </dgm:t>
    </dgm:pt>
    <dgm:pt modelId="{BB09944D-70EC-4508-96A7-5F1717D795B6}" type="parTrans" cxnId="{5F60C98F-C86F-4BBB-94BA-B8FF19DB5216}">
      <dgm:prSet/>
      <dgm:spPr/>
      <dgm:t>
        <a:bodyPr/>
        <a:lstStyle/>
        <a:p>
          <a:endParaRPr lang="it-IT"/>
        </a:p>
      </dgm:t>
    </dgm:pt>
    <dgm:pt modelId="{47960478-7D57-420C-8014-6C2BD1F7F4D5}" type="sibTrans" cxnId="{5F60C98F-C86F-4BBB-94BA-B8FF19DB5216}">
      <dgm:prSet/>
      <dgm:spPr/>
      <dgm:t>
        <a:bodyPr/>
        <a:lstStyle/>
        <a:p>
          <a:endParaRPr lang="it-IT"/>
        </a:p>
      </dgm:t>
    </dgm:pt>
    <dgm:pt modelId="{E6A4BF90-D1A3-4715-A394-9319ED2B89AE}" type="pres">
      <dgm:prSet presAssocID="{1804A741-9ACA-4C13-93CC-08352E75C6DB}" presName="vert0" presStyleCnt="0">
        <dgm:presLayoutVars>
          <dgm:dir/>
          <dgm:animOne val="branch"/>
          <dgm:animLvl val="lvl"/>
        </dgm:presLayoutVars>
      </dgm:prSet>
      <dgm:spPr/>
      <dgm:t>
        <a:bodyPr/>
        <a:lstStyle/>
        <a:p>
          <a:endParaRPr lang="it-IT"/>
        </a:p>
      </dgm:t>
    </dgm:pt>
    <dgm:pt modelId="{64B52DA3-7BC3-404E-B913-F8E7BD5C05EF}" type="pres">
      <dgm:prSet presAssocID="{FA69CB8F-815F-405D-AAFF-0C627A5A9E84}" presName="thickLine" presStyleLbl="alignNode1" presStyleIdx="0" presStyleCnt="3"/>
      <dgm:spPr/>
    </dgm:pt>
    <dgm:pt modelId="{C4E91AE8-3DB0-43DD-A44D-F158B83C2195}" type="pres">
      <dgm:prSet presAssocID="{FA69CB8F-815F-405D-AAFF-0C627A5A9E84}" presName="horz1" presStyleCnt="0"/>
      <dgm:spPr/>
    </dgm:pt>
    <dgm:pt modelId="{BE9F308B-6EDB-40F9-9BA4-C2C1166CF298}" type="pres">
      <dgm:prSet presAssocID="{FA69CB8F-815F-405D-AAFF-0C627A5A9E84}" presName="tx1" presStyleLbl="revTx" presStyleIdx="0" presStyleCnt="3" custScaleY="27204"/>
      <dgm:spPr/>
      <dgm:t>
        <a:bodyPr/>
        <a:lstStyle/>
        <a:p>
          <a:endParaRPr lang="it-IT"/>
        </a:p>
      </dgm:t>
    </dgm:pt>
    <dgm:pt modelId="{1A262134-C761-4153-B85E-E238E2D59CC3}" type="pres">
      <dgm:prSet presAssocID="{FA69CB8F-815F-405D-AAFF-0C627A5A9E84}" presName="vert1" presStyleCnt="0"/>
      <dgm:spPr/>
    </dgm:pt>
    <dgm:pt modelId="{EFF713C7-C8C9-441E-9423-086E996EFF71}" type="pres">
      <dgm:prSet presAssocID="{37BF7776-AA1B-4399-BEC8-599A8E71872C}" presName="thickLine" presStyleLbl="alignNode1" presStyleIdx="1" presStyleCnt="3"/>
      <dgm:spPr/>
    </dgm:pt>
    <dgm:pt modelId="{56325336-E6B3-48FF-8A9B-837741C86164}" type="pres">
      <dgm:prSet presAssocID="{37BF7776-AA1B-4399-BEC8-599A8E71872C}" presName="horz1" presStyleCnt="0"/>
      <dgm:spPr/>
    </dgm:pt>
    <dgm:pt modelId="{14724403-B044-4AF9-9668-914B3E55C3CF}" type="pres">
      <dgm:prSet presAssocID="{37BF7776-AA1B-4399-BEC8-599A8E71872C}" presName="tx1" presStyleLbl="revTx" presStyleIdx="1" presStyleCnt="3" custScaleY="13969"/>
      <dgm:spPr/>
      <dgm:t>
        <a:bodyPr/>
        <a:lstStyle/>
        <a:p>
          <a:endParaRPr lang="it-IT"/>
        </a:p>
      </dgm:t>
    </dgm:pt>
    <dgm:pt modelId="{9D5D6441-BCA1-429E-BE4E-FF64B916D49B}" type="pres">
      <dgm:prSet presAssocID="{37BF7776-AA1B-4399-BEC8-599A8E71872C}" presName="vert1" presStyleCnt="0"/>
      <dgm:spPr/>
    </dgm:pt>
    <dgm:pt modelId="{DA882F34-7F49-4C32-81A5-F1384007D00F}" type="pres">
      <dgm:prSet presAssocID="{03C0C41A-C8E0-414A-97B9-5BF408615906}" presName="thickLine" presStyleLbl="alignNode1" presStyleIdx="2" presStyleCnt="3"/>
      <dgm:spPr/>
    </dgm:pt>
    <dgm:pt modelId="{F0BAF726-53D2-45C1-A331-0FA3D8912372}" type="pres">
      <dgm:prSet presAssocID="{03C0C41A-C8E0-414A-97B9-5BF408615906}" presName="horz1" presStyleCnt="0"/>
      <dgm:spPr/>
    </dgm:pt>
    <dgm:pt modelId="{C728CA95-41C4-4332-87BF-F2219A2E8845}" type="pres">
      <dgm:prSet presAssocID="{03C0C41A-C8E0-414A-97B9-5BF408615906}" presName="tx1" presStyleLbl="revTx" presStyleIdx="2" presStyleCnt="3" custScaleY="28977"/>
      <dgm:spPr/>
      <dgm:t>
        <a:bodyPr/>
        <a:lstStyle/>
        <a:p>
          <a:endParaRPr lang="it-IT"/>
        </a:p>
      </dgm:t>
    </dgm:pt>
    <dgm:pt modelId="{60E4E077-D564-49B2-A053-5BC05130B474}" type="pres">
      <dgm:prSet presAssocID="{03C0C41A-C8E0-414A-97B9-5BF408615906}" presName="vert1" presStyleCnt="0"/>
      <dgm:spPr/>
    </dgm:pt>
  </dgm:ptLst>
  <dgm:cxnLst>
    <dgm:cxn modelId="{9DAD39BB-60B1-469F-9B2F-3ECA492474FC}" srcId="{1804A741-9ACA-4C13-93CC-08352E75C6DB}" destId="{FA69CB8F-815F-405D-AAFF-0C627A5A9E84}" srcOrd="0" destOrd="0" parTransId="{36D6FE2B-AF4E-4D1F-A2F8-62FB79D0D19E}" sibTransId="{97BBCD0E-1E82-461D-A648-3CCC7B4FB1CD}"/>
    <dgm:cxn modelId="{5AD9757A-37B8-4A12-81B2-20E123581314}" type="presOf" srcId="{37BF7776-AA1B-4399-BEC8-599A8E71872C}" destId="{14724403-B044-4AF9-9668-914B3E55C3CF}" srcOrd="0" destOrd="0" presId="urn:microsoft.com/office/officeart/2008/layout/LinedList"/>
    <dgm:cxn modelId="{40E059F3-052D-45B0-87AC-C1722623C58F}" type="presOf" srcId="{03C0C41A-C8E0-414A-97B9-5BF408615906}" destId="{C728CA95-41C4-4332-87BF-F2219A2E8845}" srcOrd="0" destOrd="0" presId="urn:microsoft.com/office/officeart/2008/layout/LinedList"/>
    <dgm:cxn modelId="{A30999FC-6455-4C0C-8062-BC7EB2C509E4}" type="presOf" srcId="{1804A741-9ACA-4C13-93CC-08352E75C6DB}" destId="{E6A4BF90-D1A3-4715-A394-9319ED2B89AE}" srcOrd="0" destOrd="0" presId="urn:microsoft.com/office/officeart/2008/layout/LinedList"/>
    <dgm:cxn modelId="{5F60C98F-C86F-4BBB-94BA-B8FF19DB5216}" srcId="{1804A741-9ACA-4C13-93CC-08352E75C6DB}" destId="{03C0C41A-C8E0-414A-97B9-5BF408615906}" srcOrd="2" destOrd="0" parTransId="{BB09944D-70EC-4508-96A7-5F1717D795B6}" sibTransId="{47960478-7D57-420C-8014-6C2BD1F7F4D5}"/>
    <dgm:cxn modelId="{73EC1617-8818-414F-A490-14050ED9102C}" type="presOf" srcId="{FA69CB8F-815F-405D-AAFF-0C627A5A9E84}" destId="{BE9F308B-6EDB-40F9-9BA4-C2C1166CF298}" srcOrd="0" destOrd="0" presId="urn:microsoft.com/office/officeart/2008/layout/LinedList"/>
    <dgm:cxn modelId="{44577182-1165-49EE-B419-F01097C21796}" srcId="{1804A741-9ACA-4C13-93CC-08352E75C6DB}" destId="{37BF7776-AA1B-4399-BEC8-599A8E71872C}" srcOrd="1" destOrd="0" parTransId="{7786BA9C-14EB-4B06-8779-A6D2BC8A8AB9}" sibTransId="{2582617E-45C8-41E5-AA27-CADA8B539A6D}"/>
    <dgm:cxn modelId="{214F3A1C-77C2-4548-896C-74012BB2CED8}" type="presParOf" srcId="{E6A4BF90-D1A3-4715-A394-9319ED2B89AE}" destId="{64B52DA3-7BC3-404E-B913-F8E7BD5C05EF}" srcOrd="0" destOrd="0" presId="urn:microsoft.com/office/officeart/2008/layout/LinedList"/>
    <dgm:cxn modelId="{04C660A6-DB6C-46CF-980D-0810FBDF7D98}" type="presParOf" srcId="{E6A4BF90-D1A3-4715-A394-9319ED2B89AE}" destId="{C4E91AE8-3DB0-43DD-A44D-F158B83C2195}" srcOrd="1" destOrd="0" presId="urn:microsoft.com/office/officeart/2008/layout/LinedList"/>
    <dgm:cxn modelId="{7D9B933D-6113-4942-B874-A4478B0ACC4A}" type="presParOf" srcId="{C4E91AE8-3DB0-43DD-A44D-F158B83C2195}" destId="{BE9F308B-6EDB-40F9-9BA4-C2C1166CF298}" srcOrd="0" destOrd="0" presId="urn:microsoft.com/office/officeart/2008/layout/LinedList"/>
    <dgm:cxn modelId="{31C0DEEA-C22E-497C-855D-2E0C2CAC0194}" type="presParOf" srcId="{C4E91AE8-3DB0-43DD-A44D-F158B83C2195}" destId="{1A262134-C761-4153-B85E-E238E2D59CC3}" srcOrd="1" destOrd="0" presId="urn:microsoft.com/office/officeart/2008/layout/LinedList"/>
    <dgm:cxn modelId="{7D842141-92E6-4864-BFCA-BE642658EE60}" type="presParOf" srcId="{E6A4BF90-D1A3-4715-A394-9319ED2B89AE}" destId="{EFF713C7-C8C9-441E-9423-086E996EFF71}" srcOrd="2" destOrd="0" presId="urn:microsoft.com/office/officeart/2008/layout/LinedList"/>
    <dgm:cxn modelId="{0C8EA65F-B42B-414E-AEBA-775B54B44EE0}" type="presParOf" srcId="{E6A4BF90-D1A3-4715-A394-9319ED2B89AE}" destId="{56325336-E6B3-48FF-8A9B-837741C86164}" srcOrd="3" destOrd="0" presId="urn:microsoft.com/office/officeart/2008/layout/LinedList"/>
    <dgm:cxn modelId="{B9A503CB-7FCB-4620-912D-791F4666E7E0}" type="presParOf" srcId="{56325336-E6B3-48FF-8A9B-837741C86164}" destId="{14724403-B044-4AF9-9668-914B3E55C3CF}" srcOrd="0" destOrd="0" presId="urn:microsoft.com/office/officeart/2008/layout/LinedList"/>
    <dgm:cxn modelId="{CB9BB002-5EA8-4E10-A9F7-DB1D410CAC57}" type="presParOf" srcId="{56325336-E6B3-48FF-8A9B-837741C86164}" destId="{9D5D6441-BCA1-429E-BE4E-FF64B916D49B}" srcOrd="1" destOrd="0" presId="urn:microsoft.com/office/officeart/2008/layout/LinedList"/>
    <dgm:cxn modelId="{EB72411D-C472-4534-AD47-996BC2D36EEA}" type="presParOf" srcId="{E6A4BF90-D1A3-4715-A394-9319ED2B89AE}" destId="{DA882F34-7F49-4C32-81A5-F1384007D00F}" srcOrd="4" destOrd="0" presId="urn:microsoft.com/office/officeart/2008/layout/LinedList"/>
    <dgm:cxn modelId="{0DD6041A-92E2-45A5-9072-49E4B6D2813B}" type="presParOf" srcId="{E6A4BF90-D1A3-4715-A394-9319ED2B89AE}" destId="{F0BAF726-53D2-45C1-A331-0FA3D8912372}" srcOrd="5" destOrd="0" presId="urn:microsoft.com/office/officeart/2008/layout/LinedList"/>
    <dgm:cxn modelId="{09E9733E-CB64-4E0C-8BCF-101832BCB6B6}" type="presParOf" srcId="{F0BAF726-53D2-45C1-A331-0FA3D8912372}" destId="{C728CA95-41C4-4332-87BF-F2219A2E8845}" srcOrd="0" destOrd="0" presId="urn:microsoft.com/office/officeart/2008/layout/LinedList"/>
    <dgm:cxn modelId="{E9B57A35-1F3A-4833-8647-25E21AC95099}" type="presParOf" srcId="{F0BAF726-53D2-45C1-A331-0FA3D8912372}" destId="{60E4E077-D564-49B2-A053-5BC05130B474}" srcOrd="1" destOrd="0" presId="urn:microsoft.com/office/officeart/2008/layout/LinedLis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61.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dgm:spPr/>
      <dgm:t>
        <a:bodyPr/>
        <a:lstStyle/>
        <a:p>
          <a:pPr rtl="0"/>
          <a:r>
            <a:rPr lang="it-IT" b="1" dirty="0" smtClean="0">
              <a:effectLst>
                <a:outerShdw blurRad="38100" dist="38100" dir="2700000" algn="tl">
                  <a:srgbClr val="000000">
                    <a:alpha val="43137"/>
                  </a:srgbClr>
                </a:outerShdw>
              </a:effectLst>
            </a:rPr>
            <a:t>1. Sistema produttivo</a:t>
          </a:r>
          <a:endParaRPr lang="it-IT"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C5E7FE9D-1136-4183-932D-B744EC292338}" type="presOf" srcId="{188FD03C-7D6A-4D29-8FCB-9C1383057E36}" destId="{C08F212E-D010-4B1B-884C-243E8BB88BD2}" srcOrd="0" destOrd="0" presId="urn:microsoft.com/office/officeart/2005/8/layout/list1"/>
    <dgm:cxn modelId="{22D6FACB-72A5-492D-BD8C-96D7C0457058}" type="presOf" srcId="{E4C7AF03-E2BD-4E48-8DAB-C1261D3D7EA9}" destId="{21D380AD-5D38-4835-9FB5-615E5454C686}" srcOrd="1"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6F5E2117-DAD5-44F4-A948-EC1626A84F63}" type="presOf" srcId="{E4C7AF03-E2BD-4E48-8DAB-C1261D3D7EA9}" destId="{03DB856F-DE91-4CA0-AD05-B356DE21BFDC}" srcOrd="0" destOrd="0" presId="urn:microsoft.com/office/officeart/2005/8/layout/list1"/>
    <dgm:cxn modelId="{1192B9E0-D277-4DC5-813C-08290AE19B38}" type="presParOf" srcId="{C08F212E-D010-4B1B-884C-243E8BB88BD2}" destId="{A042C0D5-6636-40E8-83EA-703099528EDB}" srcOrd="0" destOrd="0" presId="urn:microsoft.com/office/officeart/2005/8/layout/list1"/>
    <dgm:cxn modelId="{764BC5B8-DD6E-4243-9DAB-3789A5750C44}" type="presParOf" srcId="{A042C0D5-6636-40E8-83EA-703099528EDB}" destId="{03DB856F-DE91-4CA0-AD05-B356DE21BFDC}" srcOrd="0" destOrd="0" presId="urn:microsoft.com/office/officeart/2005/8/layout/list1"/>
    <dgm:cxn modelId="{43BFB3DA-F4C0-4566-A07C-7F93EACA4FBD}" type="presParOf" srcId="{A042C0D5-6636-40E8-83EA-703099528EDB}" destId="{21D380AD-5D38-4835-9FB5-615E5454C686}" srcOrd="1" destOrd="0" presId="urn:microsoft.com/office/officeart/2005/8/layout/list1"/>
    <dgm:cxn modelId="{79C18D4F-ED91-4FFD-B8B8-9E8B82543E70}" type="presParOf" srcId="{C08F212E-D010-4B1B-884C-243E8BB88BD2}" destId="{E77B3B8A-36B6-4AF7-9D59-DF889FA8E07C}" srcOrd="1" destOrd="0" presId="urn:microsoft.com/office/officeart/2005/8/layout/list1"/>
    <dgm:cxn modelId="{7D308D75-2142-4168-9512-5C28B1DD8263}"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2.xml><?xml version="1.0" encoding="utf-8"?>
<dgm:dataModel xmlns:dgm="http://schemas.openxmlformats.org/drawingml/2006/diagram" xmlns:a="http://schemas.openxmlformats.org/drawingml/2006/main">
  <dgm:ptLst>
    <dgm:pt modelId="{9739F7DC-27A9-46E3-9755-2BB63C7FCBCE}" type="doc">
      <dgm:prSet loTypeId="urn:diagrams.loki3.com/BracketList+Icon" loCatId="list" qsTypeId="urn:microsoft.com/office/officeart/2005/8/quickstyle/simple1" qsCatId="simple" csTypeId="urn:microsoft.com/office/officeart/2005/8/colors/colorful5" csCatId="colorful" phldr="1"/>
      <dgm:spPr/>
      <dgm:t>
        <a:bodyPr/>
        <a:lstStyle/>
        <a:p>
          <a:endParaRPr lang="it-IT"/>
        </a:p>
      </dgm:t>
    </dgm:pt>
    <dgm:pt modelId="{3899A6F3-9543-41B5-BA8F-A858BC013813}">
      <dgm:prSet custT="1"/>
      <dgm:spPr/>
      <dgm:t>
        <a:bodyPr/>
        <a:lstStyle/>
        <a:p>
          <a:pPr algn="ctr" rtl="0"/>
          <a:r>
            <a:rPr lang="it-IT" sz="1400" b="1" dirty="0" smtClean="0"/>
            <a:t>Il potenziale turistico italiano</a:t>
          </a:r>
          <a:endParaRPr lang="it-IT" sz="1400" b="1" dirty="0"/>
        </a:p>
      </dgm:t>
    </dgm:pt>
    <dgm:pt modelId="{0429AAE2-A003-431E-815E-0D9C930F721D}" type="parTrans" cxnId="{2DC2E12C-0A2C-4B66-95AC-3ACD64A44CEA}">
      <dgm:prSet/>
      <dgm:spPr/>
      <dgm:t>
        <a:bodyPr/>
        <a:lstStyle/>
        <a:p>
          <a:endParaRPr lang="it-IT"/>
        </a:p>
      </dgm:t>
    </dgm:pt>
    <dgm:pt modelId="{BD8C1E50-369C-41DA-9A86-067CE6E750C2}" type="sibTrans" cxnId="{2DC2E12C-0A2C-4B66-95AC-3ACD64A44CEA}">
      <dgm:prSet/>
      <dgm:spPr/>
      <dgm:t>
        <a:bodyPr/>
        <a:lstStyle/>
        <a:p>
          <a:endParaRPr lang="it-IT"/>
        </a:p>
      </dgm:t>
    </dgm:pt>
    <dgm:pt modelId="{D123E187-BAA8-4062-9644-776F7E391AF0}" type="pres">
      <dgm:prSet presAssocID="{9739F7DC-27A9-46E3-9755-2BB63C7FCBCE}" presName="Name0" presStyleCnt="0">
        <dgm:presLayoutVars>
          <dgm:dir/>
          <dgm:animLvl val="lvl"/>
          <dgm:resizeHandles val="exact"/>
        </dgm:presLayoutVars>
      </dgm:prSet>
      <dgm:spPr/>
      <dgm:t>
        <a:bodyPr/>
        <a:lstStyle/>
        <a:p>
          <a:endParaRPr lang="it-IT"/>
        </a:p>
      </dgm:t>
    </dgm:pt>
    <dgm:pt modelId="{9A13C42B-521D-48A0-907C-7ED63731697F}" type="pres">
      <dgm:prSet presAssocID="{3899A6F3-9543-41B5-BA8F-A858BC013813}" presName="linNode" presStyleCnt="0"/>
      <dgm:spPr/>
      <dgm:t>
        <a:bodyPr/>
        <a:lstStyle/>
        <a:p>
          <a:endParaRPr lang="it-IT"/>
        </a:p>
      </dgm:t>
    </dgm:pt>
    <dgm:pt modelId="{D935C5E2-5E25-4F86-8C19-90A32DE12900}" type="pres">
      <dgm:prSet presAssocID="{3899A6F3-9543-41B5-BA8F-A858BC013813}" presName="parTx" presStyleLbl="revTx" presStyleIdx="0" presStyleCnt="1" custScaleX="244903" custScaleY="67447" custLinFactX="-31655" custLinFactNeighborX="-100000" custLinFactNeighborY="-1542">
        <dgm:presLayoutVars>
          <dgm:chMax val="1"/>
          <dgm:bulletEnabled val="1"/>
        </dgm:presLayoutVars>
      </dgm:prSet>
      <dgm:spPr/>
      <dgm:t>
        <a:bodyPr/>
        <a:lstStyle/>
        <a:p>
          <a:endParaRPr lang="it-IT"/>
        </a:p>
      </dgm:t>
    </dgm:pt>
    <dgm:pt modelId="{379B0A50-5782-4FE7-BA42-0F6C7D5ABCE7}" type="pres">
      <dgm:prSet presAssocID="{3899A6F3-9543-41B5-BA8F-A858BC013813}" presName="bracket" presStyleLbl="parChTrans1D1" presStyleIdx="0" presStyleCnt="1" custScaleX="508604" custScaleY="352656" custLinFactX="-200000" custLinFactNeighborX="-269130" custLinFactNeighborY="0"/>
      <dgm:spPr/>
      <dgm:t>
        <a:bodyPr/>
        <a:lstStyle/>
        <a:p>
          <a:endParaRPr lang="it-IT"/>
        </a:p>
      </dgm:t>
    </dgm:pt>
    <dgm:pt modelId="{8EA97D42-A622-4808-ACC7-B0FA284C15A2}" type="pres">
      <dgm:prSet presAssocID="{3899A6F3-9543-41B5-BA8F-A858BC013813}" presName="spH" presStyleCnt="0"/>
      <dgm:spPr/>
      <dgm:t>
        <a:bodyPr/>
        <a:lstStyle/>
        <a:p>
          <a:endParaRPr lang="it-IT"/>
        </a:p>
      </dgm:t>
    </dgm:pt>
  </dgm:ptLst>
  <dgm:cxnLst>
    <dgm:cxn modelId="{9E69D99D-AAB0-4494-AC5F-E96CA2A11D0E}" type="presOf" srcId="{3899A6F3-9543-41B5-BA8F-A858BC013813}" destId="{D935C5E2-5E25-4F86-8C19-90A32DE12900}" srcOrd="0" destOrd="0" presId="urn:diagrams.loki3.com/BracketList+Icon"/>
    <dgm:cxn modelId="{2DC2E12C-0A2C-4B66-95AC-3ACD64A44CEA}" srcId="{9739F7DC-27A9-46E3-9755-2BB63C7FCBCE}" destId="{3899A6F3-9543-41B5-BA8F-A858BC013813}" srcOrd="0" destOrd="0" parTransId="{0429AAE2-A003-431E-815E-0D9C930F721D}" sibTransId="{BD8C1E50-369C-41DA-9A86-067CE6E750C2}"/>
    <dgm:cxn modelId="{6B80C4BC-7A6E-410E-ACD6-723694894F4B}" type="presOf" srcId="{9739F7DC-27A9-46E3-9755-2BB63C7FCBCE}" destId="{D123E187-BAA8-4062-9644-776F7E391AF0}" srcOrd="0" destOrd="0" presId="urn:diagrams.loki3.com/BracketList+Icon"/>
    <dgm:cxn modelId="{D1950604-CCAC-4BB7-9563-2C88481D3184}" type="presParOf" srcId="{D123E187-BAA8-4062-9644-776F7E391AF0}" destId="{9A13C42B-521D-48A0-907C-7ED63731697F}" srcOrd="0" destOrd="0" presId="urn:diagrams.loki3.com/BracketList+Icon"/>
    <dgm:cxn modelId="{E8101CFB-0E3E-4DD6-9501-082779B56ED2}" type="presParOf" srcId="{9A13C42B-521D-48A0-907C-7ED63731697F}" destId="{D935C5E2-5E25-4F86-8C19-90A32DE12900}" srcOrd="0" destOrd="0" presId="urn:diagrams.loki3.com/BracketList+Icon"/>
    <dgm:cxn modelId="{B3D56ED5-FE12-4880-9822-EF6398234E1A}" type="presParOf" srcId="{9A13C42B-521D-48A0-907C-7ED63731697F}" destId="{379B0A50-5782-4FE7-BA42-0F6C7D5ABCE7}" srcOrd="1" destOrd="0" presId="urn:diagrams.loki3.com/BracketList+Icon"/>
    <dgm:cxn modelId="{15CE1B22-CD40-40AE-A134-4CD5479B2ADA}" type="presParOf" srcId="{9A13C42B-521D-48A0-907C-7ED63731697F}" destId="{8EA97D42-A622-4808-ACC7-B0FA284C15A2}" srcOrd="2" destOrd="0" presId="urn:diagrams.loki3.com/BracketLis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3.xml><?xml version="1.0" encoding="utf-8"?>
<dgm:dataModel xmlns:dgm="http://schemas.openxmlformats.org/drawingml/2006/diagram" xmlns:a="http://schemas.openxmlformats.org/drawingml/2006/main">
  <dgm:ptLst>
    <dgm:pt modelId="{E94440B5-B491-4990-8637-244F230AE04F}" type="doc">
      <dgm:prSet loTypeId="urn:microsoft.com/office/officeart/2005/8/layout/vList2" loCatId="list" qsTypeId="urn:microsoft.com/office/officeart/2005/8/quickstyle/simple5" qsCatId="simple" csTypeId="urn:microsoft.com/office/officeart/2005/8/colors/colorful5" csCatId="colorful" phldr="1"/>
      <dgm:spPr/>
      <dgm:t>
        <a:bodyPr/>
        <a:lstStyle/>
        <a:p>
          <a:endParaRPr lang="it-IT"/>
        </a:p>
      </dgm:t>
    </dgm:pt>
    <dgm:pt modelId="{4DCF4696-1E34-49F3-AF18-169E25E4655D}">
      <dgm:prSet custT="1"/>
      <dgm:spPr/>
      <dgm:t>
        <a:bodyPr/>
        <a:lstStyle/>
        <a:p>
          <a:pPr rtl="0"/>
          <a:r>
            <a:rPr lang="it-IT" sz="1200" b="1" dirty="0" smtClean="0">
              <a:solidFill>
                <a:schemeClr val="bg2">
                  <a:lumMod val="10000"/>
                </a:schemeClr>
              </a:solidFill>
              <a:effectLst/>
            </a:rPr>
            <a:t>Il turismo internazionale continuerà a crescere anche nel prossimo ventennio. Rispetto ai circa 900 milioni di passeggeri del 2010, nel 2030 è atteso un raddoppio che porterà a 1,8 miliardi annui di passeggeri (World Tourism Organization, 2011)</a:t>
          </a:r>
          <a:endParaRPr lang="it-IT" sz="1200" b="1" dirty="0">
            <a:solidFill>
              <a:schemeClr val="bg2">
                <a:lumMod val="10000"/>
              </a:schemeClr>
            </a:solidFill>
            <a:effectLst/>
          </a:endParaRPr>
        </a:p>
      </dgm:t>
    </dgm:pt>
    <dgm:pt modelId="{8EB4DA72-6014-460A-87B1-B31144D85A0A}" type="parTrans" cxnId="{0B57C862-2D11-4D09-B786-282C3DD06D31}">
      <dgm:prSet/>
      <dgm:spPr/>
      <dgm:t>
        <a:bodyPr/>
        <a:lstStyle/>
        <a:p>
          <a:endParaRPr lang="it-IT"/>
        </a:p>
      </dgm:t>
    </dgm:pt>
    <dgm:pt modelId="{3203C5DE-E287-4161-A5D2-FD85EE93B33B}" type="sibTrans" cxnId="{0B57C862-2D11-4D09-B786-282C3DD06D31}">
      <dgm:prSet/>
      <dgm:spPr/>
      <dgm:t>
        <a:bodyPr/>
        <a:lstStyle/>
        <a:p>
          <a:endParaRPr lang="it-IT"/>
        </a:p>
      </dgm:t>
    </dgm:pt>
    <dgm:pt modelId="{12539769-B089-4B1D-BE11-E82E88084E09}">
      <dgm:prSet custT="1"/>
      <dgm:spPr/>
      <dgm:t>
        <a:bodyPr/>
        <a:lstStyle/>
        <a:p>
          <a:pPr rtl="0"/>
          <a:r>
            <a:rPr lang="it-IT" sz="1200" b="1" dirty="0" smtClean="0">
              <a:solidFill>
                <a:schemeClr val="bg2">
                  <a:lumMod val="10000"/>
                </a:schemeClr>
              </a:solidFill>
              <a:effectLst/>
            </a:rPr>
            <a:t>L’Europa vedrà in crescere i suoi flussi turistici (forbice compresa tra il 2 e 3%) meno che nell’area asiatica e del Pacifico (UNWTO) . L'aumento della competizione tra località, facilitata dalla diminuzione dei costi di trasporto, ha fatto emergere nuovi mercati e nuove nicchie di mercato. Il peso dei principali mercati dei paesi avanzati è diminuito. É aumentato il peso dei mercati extra-europei più lontani. Il prodotto turistico si è diversificato</a:t>
          </a:r>
          <a:endParaRPr lang="it-IT" sz="1200" b="1" dirty="0">
            <a:solidFill>
              <a:schemeClr val="bg2">
                <a:lumMod val="10000"/>
              </a:schemeClr>
            </a:solidFill>
            <a:effectLst/>
          </a:endParaRPr>
        </a:p>
      </dgm:t>
    </dgm:pt>
    <dgm:pt modelId="{F2BBEE18-1EFC-4456-924C-DC6B38805FEF}" type="parTrans" cxnId="{70776CB4-9213-471F-A8D8-372B3E3390CB}">
      <dgm:prSet/>
      <dgm:spPr/>
      <dgm:t>
        <a:bodyPr/>
        <a:lstStyle/>
        <a:p>
          <a:endParaRPr lang="it-IT"/>
        </a:p>
      </dgm:t>
    </dgm:pt>
    <dgm:pt modelId="{0D9A5DFB-15A0-472F-9E09-689FD91C2234}" type="sibTrans" cxnId="{70776CB4-9213-471F-A8D8-372B3E3390CB}">
      <dgm:prSet/>
      <dgm:spPr/>
      <dgm:t>
        <a:bodyPr/>
        <a:lstStyle/>
        <a:p>
          <a:endParaRPr lang="it-IT"/>
        </a:p>
      </dgm:t>
    </dgm:pt>
    <dgm:pt modelId="{EB7EC312-6039-4855-B690-CD883FD4D39A}">
      <dgm:prSet custT="1"/>
      <dgm:spPr/>
      <dgm:t>
        <a:bodyPr/>
        <a:lstStyle/>
        <a:p>
          <a:pPr rtl="0"/>
          <a:r>
            <a:rPr lang="it-IT" sz="1200" b="1" dirty="0" smtClean="0">
              <a:solidFill>
                <a:schemeClr val="bg2">
                  <a:lumMod val="10000"/>
                </a:schemeClr>
              </a:solidFill>
              <a:effectLst/>
            </a:rPr>
            <a:t>Il potenziale di crescita per l’Italia è comunque alto: Nel 2010 sono stati registrati circa 900 milioni di viaggiatori internazionali a livello globale, di questi circa 400 milioni hanno soggiornato nel mercato di riferimento dell’Italia (Europa Occidentale e Mediterraneo)</a:t>
          </a:r>
          <a:endParaRPr lang="it-IT" sz="1200" b="1" dirty="0">
            <a:solidFill>
              <a:schemeClr val="bg2">
                <a:lumMod val="10000"/>
              </a:schemeClr>
            </a:solidFill>
            <a:effectLst/>
          </a:endParaRPr>
        </a:p>
      </dgm:t>
    </dgm:pt>
    <dgm:pt modelId="{8F2476B1-A466-413E-A84C-1C9EA6A6CA42}" type="parTrans" cxnId="{E30B0C09-8740-4232-9003-BDF6C3A82F53}">
      <dgm:prSet/>
      <dgm:spPr/>
      <dgm:t>
        <a:bodyPr/>
        <a:lstStyle/>
        <a:p>
          <a:endParaRPr lang="it-IT"/>
        </a:p>
      </dgm:t>
    </dgm:pt>
    <dgm:pt modelId="{9EB76FE2-4887-499C-8639-89EE3C37D991}" type="sibTrans" cxnId="{E30B0C09-8740-4232-9003-BDF6C3A82F53}">
      <dgm:prSet/>
      <dgm:spPr/>
      <dgm:t>
        <a:bodyPr/>
        <a:lstStyle/>
        <a:p>
          <a:endParaRPr lang="it-IT"/>
        </a:p>
      </dgm:t>
    </dgm:pt>
    <dgm:pt modelId="{91410464-B417-4566-A255-4E82EE45FDB7}">
      <dgm:prSet custT="1"/>
      <dgm:spPr/>
      <dgm:t>
        <a:bodyPr/>
        <a:lstStyle/>
        <a:p>
          <a:pPr rtl="0"/>
          <a:r>
            <a:rPr lang="it-IT" sz="1200" b="1" dirty="0" smtClean="0">
              <a:solidFill>
                <a:schemeClr val="bg2">
                  <a:lumMod val="10000"/>
                </a:schemeClr>
              </a:solidFill>
              <a:effectLst/>
            </a:rPr>
            <a:t>Per il periodo 2010-2020 la crescita attesa del turismo internazionale nel mercato di riferimento dell’Italia è del 2,9% annuo in termini di numero di viaggiatori e del 4,8% annuo in termini di spesa.</a:t>
          </a:r>
          <a:endParaRPr lang="it-IT" sz="1200" b="1" dirty="0">
            <a:solidFill>
              <a:schemeClr val="bg2">
                <a:lumMod val="10000"/>
              </a:schemeClr>
            </a:solidFill>
            <a:effectLst/>
          </a:endParaRPr>
        </a:p>
      </dgm:t>
    </dgm:pt>
    <dgm:pt modelId="{4412C82A-E5B2-48CC-9EA2-73625D5DB87F}" type="parTrans" cxnId="{3E940C88-F664-47C7-83BD-E18236B59B6F}">
      <dgm:prSet/>
      <dgm:spPr/>
      <dgm:t>
        <a:bodyPr/>
        <a:lstStyle/>
        <a:p>
          <a:endParaRPr lang="it-IT"/>
        </a:p>
      </dgm:t>
    </dgm:pt>
    <dgm:pt modelId="{0360252A-6D90-4C54-980E-B717A89AA0AF}" type="sibTrans" cxnId="{3E940C88-F664-47C7-83BD-E18236B59B6F}">
      <dgm:prSet/>
      <dgm:spPr/>
      <dgm:t>
        <a:bodyPr/>
        <a:lstStyle/>
        <a:p>
          <a:endParaRPr lang="it-IT"/>
        </a:p>
      </dgm:t>
    </dgm:pt>
    <dgm:pt modelId="{C72FC83C-7838-4C80-B5FA-4B7F3ED079B4}">
      <dgm:prSet custT="1"/>
      <dgm:spPr/>
      <dgm:t>
        <a:bodyPr/>
        <a:lstStyle/>
        <a:p>
          <a:pPr rtl="0"/>
          <a:r>
            <a:rPr lang="it-IT" sz="1200" b="1" dirty="0" smtClean="0">
              <a:solidFill>
                <a:schemeClr val="bg2">
                  <a:lumMod val="10000"/>
                </a:schemeClr>
              </a:solidFill>
              <a:effectLst/>
            </a:rPr>
            <a:t>I viaggiatori internazionali sono fondamentali per il settore turistico italiano in quanto la domanda interna è destinata a crescere a tassi molto contenuti. Si tratta di un trend già in atto da tempo: nel periodo 2005-2010 le notti acquistate in Italia da viaggiatori italiani sono cresciute dello 0,3% annuo, mentre quelle acquistate da viaggiatori internazionali sono cresciute del 2,2% (Istat, 2012).</a:t>
          </a:r>
          <a:endParaRPr lang="it-IT" sz="1200" b="1" dirty="0">
            <a:solidFill>
              <a:schemeClr val="bg2">
                <a:lumMod val="10000"/>
              </a:schemeClr>
            </a:solidFill>
            <a:effectLst/>
          </a:endParaRPr>
        </a:p>
      </dgm:t>
    </dgm:pt>
    <dgm:pt modelId="{D440BFB2-8124-4166-91CA-B0387770D536}" type="parTrans" cxnId="{CC5E89AF-6BE5-4B5C-997A-FAE2A8A8088B}">
      <dgm:prSet/>
      <dgm:spPr/>
      <dgm:t>
        <a:bodyPr/>
        <a:lstStyle/>
        <a:p>
          <a:endParaRPr lang="it-IT"/>
        </a:p>
      </dgm:t>
    </dgm:pt>
    <dgm:pt modelId="{D565D20B-A6AA-4C1A-B4F7-416C5EBB1C5E}" type="sibTrans" cxnId="{CC5E89AF-6BE5-4B5C-997A-FAE2A8A8088B}">
      <dgm:prSet/>
      <dgm:spPr/>
      <dgm:t>
        <a:bodyPr/>
        <a:lstStyle/>
        <a:p>
          <a:endParaRPr lang="it-IT"/>
        </a:p>
      </dgm:t>
    </dgm:pt>
    <dgm:pt modelId="{EF2A3DF3-EFB6-4EC4-A84C-CC1B48C98F35}" type="pres">
      <dgm:prSet presAssocID="{E94440B5-B491-4990-8637-244F230AE04F}" presName="linear" presStyleCnt="0">
        <dgm:presLayoutVars>
          <dgm:animLvl val="lvl"/>
          <dgm:resizeHandles val="exact"/>
        </dgm:presLayoutVars>
      </dgm:prSet>
      <dgm:spPr/>
      <dgm:t>
        <a:bodyPr/>
        <a:lstStyle/>
        <a:p>
          <a:endParaRPr lang="it-IT"/>
        </a:p>
      </dgm:t>
    </dgm:pt>
    <dgm:pt modelId="{9805214C-C233-4AAE-B814-6AD35E8BB61C}" type="pres">
      <dgm:prSet presAssocID="{4DCF4696-1E34-49F3-AF18-169E25E4655D}" presName="parentText" presStyleLbl="node1" presStyleIdx="0" presStyleCnt="5" custScaleX="100000" custScaleY="64637">
        <dgm:presLayoutVars>
          <dgm:chMax val="0"/>
          <dgm:bulletEnabled val="1"/>
        </dgm:presLayoutVars>
      </dgm:prSet>
      <dgm:spPr/>
      <dgm:t>
        <a:bodyPr/>
        <a:lstStyle/>
        <a:p>
          <a:endParaRPr lang="it-IT"/>
        </a:p>
      </dgm:t>
    </dgm:pt>
    <dgm:pt modelId="{8085735A-84EA-453E-BC67-6C16467F03F4}" type="pres">
      <dgm:prSet presAssocID="{3203C5DE-E287-4161-A5D2-FD85EE93B33B}" presName="spacer" presStyleCnt="0"/>
      <dgm:spPr/>
      <dgm:t>
        <a:bodyPr/>
        <a:lstStyle/>
        <a:p>
          <a:endParaRPr lang="it-IT"/>
        </a:p>
      </dgm:t>
    </dgm:pt>
    <dgm:pt modelId="{F6F23AA0-DA68-4A08-B47A-3D19112A1993}" type="pres">
      <dgm:prSet presAssocID="{12539769-B089-4B1D-BE11-E82E88084E09}" presName="parentText" presStyleLbl="node1" presStyleIdx="1" presStyleCnt="5" custScaleX="100000" custScaleY="83371" custLinFactNeighborY="-37654">
        <dgm:presLayoutVars>
          <dgm:chMax val="0"/>
          <dgm:bulletEnabled val="1"/>
        </dgm:presLayoutVars>
      </dgm:prSet>
      <dgm:spPr/>
      <dgm:t>
        <a:bodyPr/>
        <a:lstStyle/>
        <a:p>
          <a:endParaRPr lang="it-IT"/>
        </a:p>
      </dgm:t>
    </dgm:pt>
    <dgm:pt modelId="{5B5BCE25-9FC9-4190-9B6F-A3EBDE830AE4}" type="pres">
      <dgm:prSet presAssocID="{0D9A5DFB-15A0-472F-9E09-689FD91C2234}" presName="spacer" presStyleCnt="0"/>
      <dgm:spPr/>
      <dgm:t>
        <a:bodyPr/>
        <a:lstStyle/>
        <a:p>
          <a:endParaRPr lang="it-IT"/>
        </a:p>
      </dgm:t>
    </dgm:pt>
    <dgm:pt modelId="{3711621F-63AC-4E08-B3C3-54E96E74B109}" type="pres">
      <dgm:prSet presAssocID="{EB7EC312-6039-4855-B690-CD883FD4D39A}" presName="parentText" presStyleLbl="node1" presStyleIdx="2" presStyleCnt="5" custScaleX="100000" custScaleY="75366" custLinFactNeighborY="-98587">
        <dgm:presLayoutVars>
          <dgm:chMax val="0"/>
          <dgm:bulletEnabled val="1"/>
        </dgm:presLayoutVars>
      </dgm:prSet>
      <dgm:spPr/>
      <dgm:t>
        <a:bodyPr/>
        <a:lstStyle/>
        <a:p>
          <a:endParaRPr lang="it-IT"/>
        </a:p>
      </dgm:t>
    </dgm:pt>
    <dgm:pt modelId="{8EC5775A-E9B1-4158-9A95-61D4424EBC4A}" type="pres">
      <dgm:prSet presAssocID="{9EB76FE2-4887-499C-8639-89EE3C37D991}" presName="spacer" presStyleCnt="0"/>
      <dgm:spPr/>
      <dgm:t>
        <a:bodyPr/>
        <a:lstStyle/>
        <a:p>
          <a:endParaRPr lang="it-IT"/>
        </a:p>
      </dgm:t>
    </dgm:pt>
    <dgm:pt modelId="{150EC898-5EE1-4BD3-871B-B52671B26D23}" type="pres">
      <dgm:prSet presAssocID="{91410464-B417-4566-A255-4E82EE45FDB7}" presName="parentText" presStyleLbl="node1" presStyleIdx="3" presStyleCnt="5" custScaleX="100000" custScaleY="52998" custLinFactY="-379" custLinFactNeighborY="-100000">
        <dgm:presLayoutVars>
          <dgm:chMax val="0"/>
          <dgm:bulletEnabled val="1"/>
        </dgm:presLayoutVars>
      </dgm:prSet>
      <dgm:spPr/>
      <dgm:t>
        <a:bodyPr/>
        <a:lstStyle/>
        <a:p>
          <a:endParaRPr lang="it-IT"/>
        </a:p>
      </dgm:t>
    </dgm:pt>
    <dgm:pt modelId="{381ED18D-0E92-4FE6-B3A1-B2F53A3FAED1}" type="pres">
      <dgm:prSet presAssocID="{0360252A-6D90-4C54-980E-B717A89AA0AF}" presName="spacer" presStyleCnt="0"/>
      <dgm:spPr/>
      <dgm:t>
        <a:bodyPr/>
        <a:lstStyle/>
        <a:p>
          <a:endParaRPr lang="it-IT"/>
        </a:p>
      </dgm:t>
    </dgm:pt>
    <dgm:pt modelId="{BA940351-0661-409A-89A2-EFCEFD065A85}" type="pres">
      <dgm:prSet presAssocID="{C72FC83C-7838-4C80-B5FA-4B7F3ED079B4}" presName="parentText" presStyleLbl="node1" presStyleIdx="4" presStyleCnt="5" custScaleX="100000" custScaleY="85474" custLinFactY="-2648" custLinFactNeighborY="-100000">
        <dgm:presLayoutVars>
          <dgm:chMax val="0"/>
          <dgm:bulletEnabled val="1"/>
        </dgm:presLayoutVars>
      </dgm:prSet>
      <dgm:spPr/>
      <dgm:t>
        <a:bodyPr/>
        <a:lstStyle/>
        <a:p>
          <a:endParaRPr lang="it-IT"/>
        </a:p>
      </dgm:t>
    </dgm:pt>
  </dgm:ptLst>
  <dgm:cxnLst>
    <dgm:cxn modelId="{4E4E6702-7221-4BEB-9D46-C6E3317E2A93}" type="presOf" srcId="{EB7EC312-6039-4855-B690-CD883FD4D39A}" destId="{3711621F-63AC-4E08-B3C3-54E96E74B109}" srcOrd="0" destOrd="0" presId="urn:microsoft.com/office/officeart/2005/8/layout/vList2"/>
    <dgm:cxn modelId="{5A3A1840-9AD6-47D8-9918-80275DA7052F}" type="presOf" srcId="{91410464-B417-4566-A255-4E82EE45FDB7}" destId="{150EC898-5EE1-4BD3-871B-B52671B26D23}" srcOrd="0" destOrd="0" presId="urn:microsoft.com/office/officeart/2005/8/layout/vList2"/>
    <dgm:cxn modelId="{0B57C862-2D11-4D09-B786-282C3DD06D31}" srcId="{E94440B5-B491-4990-8637-244F230AE04F}" destId="{4DCF4696-1E34-49F3-AF18-169E25E4655D}" srcOrd="0" destOrd="0" parTransId="{8EB4DA72-6014-460A-87B1-B31144D85A0A}" sibTransId="{3203C5DE-E287-4161-A5D2-FD85EE93B33B}"/>
    <dgm:cxn modelId="{43F5F68B-EB58-461F-A195-AEC9690CB904}" type="presOf" srcId="{4DCF4696-1E34-49F3-AF18-169E25E4655D}" destId="{9805214C-C233-4AAE-B814-6AD35E8BB61C}" srcOrd="0" destOrd="0" presId="urn:microsoft.com/office/officeart/2005/8/layout/vList2"/>
    <dgm:cxn modelId="{A9696BD5-6ABB-47BF-81BF-C6846782DF66}" type="presOf" srcId="{C72FC83C-7838-4C80-B5FA-4B7F3ED079B4}" destId="{BA940351-0661-409A-89A2-EFCEFD065A85}" srcOrd="0" destOrd="0" presId="urn:microsoft.com/office/officeart/2005/8/layout/vList2"/>
    <dgm:cxn modelId="{EE4185A1-3C38-4DC2-907D-9580800E39EB}" type="presOf" srcId="{12539769-B089-4B1D-BE11-E82E88084E09}" destId="{F6F23AA0-DA68-4A08-B47A-3D19112A1993}" srcOrd="0" destOrd="0" presId="urn:microsoft.com/office/officeart/2005/8/layout/vList2"/>
    <dgm:cxn modelId="{70776CB4-9213-471F-A8D8-372B3E3390CB}" srcId="{E94440B5-B491-4990-8637-244F230AE04F}" destId="{12539769-B089-4B1D-BE11-E82E88084E09}" srcOrd="1" destOrd="0" parTransId="{F2BBEE18-1EFC-4456-924C-DC6B38805FEF}" sibTransId="{0D9A5DFB-15A0-472F-9E09-689FD91C2234}"/>
    <dgm:cxn modelId="{E30B0C09-8740-4232-9003-BDF6C3A82F53}" srcId="{E94440B5-B491-4990-8637-244F230AE04F}" destId="{EB7EC312-6039-4855-B690-CD883FD4D39A}" srcOrd="2" destOrd="0" parTransId="{8F2476B1-A466-413E-A84C-1C9EA6A6CA42}" sibTransId="{9EB76FE2-4887-499C-8639-89EE3C37D991}"/>
    <dgm:cxn modelId="{CC5E89AF-6BE5-4B5C-997A-FAE2A8A8088B}" srcId="{E94440B5-B491-4990-8637-244F230AE04F}" destId="{C72FC83C-7838-4C80-B5FA-4B7F3ED079B4}" srcOrd="4" destOrd="0" parTransId="{D440BFB2-8124-4166-91CA-B0387770D536}" sibTransId="{D565D20B-A6AA-4C1A-B4F7-416C5EBB1C5E}"/>
    <dgm:cxn modelId="{3E940C88-F664-47C7-83BD-E18236B59B6F}" srcId="{E94440B5-B491-4990-8637-244F230AE04F}" destId="{91410464-B417-4566-A255-4E82EE45FDB7}" srcOrd="3" destOrd="0" parTransId="{4412C82A-E5B2-48CC-9EA2-73625D5DB87F}" sibTransId="{0360252A-6D90-4C54-980E-B717A89AA0AF}"/>
    <dgm:cxn modelId="{C96FE8CB-1C69-4EB4-B729-CA30536FE665}" type="presOf" srcId="{E94440B5-B491-4990-8637-244F230AE04F}" destId="{EF2A3DF3-EFB6-4EC4-A84C-CC1B48C98F35}" srcOrd="0" destOrd="0" presId="urn:microsoft.com/office/officeart/2005/8/layout/vList2"/>
    <dgm:cxn modelId="{9B1CAD64-C9C1-4209-BCAB-4359956DB38C}" type="presParOf" srcId="{EF2A3DF3-EFB6-4EC4-A84C-CC1B48C98F35}" destId="{9805214C-C233-4AAE-B814-6AD35E8BB61C}" srcOrd="0" destOrd="0" presId="urn:microsoft.com/office/officeart/2005/8/layout/vList2"/>
    <dgm:cxn modelId="{28C9D60F-BC64-4055-B258-6D46F69C67F7}" type="presParOf" srcId="{EF2A3DF3-EFB6-4EC4-A84C-CC1B48C98F35}" destId="{8085735A-84EA-453E-BC67-6C16467F03F4}" srcOrd="1" destOrd="0" presId="urn:microsoft.com/office/officeart/2005/8/layout/vList2"/>
    <dgm:cxn modelId="{E82FF32E-ACF3-4BE8-B225-610F45A0FB58}" type="presParOf" srcId="{EF2A3DF3-EFB6-4EC4-A84C-CC1B48C98F35}" destId="{F6F23AA0-DA68-4A08-B47A-3D19112A1993}" srcOrd="2" destOrd="0" presId="urn:microsoft.com/office/officeart/2005/8/layout/vList2"/>
    <dgm:cxn modelId="{38E1922D-4066-4DD0-8E1F-BDC0B517E5BD}" type="presParOf" srcId="{EF2A3DF3-EFB6-4EC4-A84C-CC1B48C98F35}" destId="{5B5BCE25-9FC9-4190-9B6F-A3EBDE830AE4}" srcOrd="3" destOrd="0" presId="urn:microsoft.com/office/officeart/2005/8/layout/vList2"/>
    <dgm:cxn modelId="{B176246F-B1C6-4F8F-8869-93C019B89970}" type="presParOf" srcId="{EF2A3DF3-EFB6-4EC4-A84C-CC1B48C98F35}" destId="{3711621F-63AC-4E08-B3C3-54E96E74B109}" srcOrd="4" destOrd="0" presId="urn:microsoft.com/office/officeart/2005/8/layout/vList2"/>
    <dgm:cxn modelId="{62B704EB-07CE-408D-88AB-F8B703804A66}" type="presParOf" srcId="{EF2A3DF3-EFB6-4EC4-A84C-CC1B48C98F35}" destId="{8EC5775A-E9B1-4158-9A95-61D4424EBC4A}" srcOrd="5" destOrd="0" presId="urn:microsoft.com/office/officeart/2005/8/layout/vList2"/>
    <dgm:cxn modelId="{48781901-1198-48DF-8A22-30CA525CF8CA}" type="presParOf" srcId="{EF2A3DF3-EFB6-4EC4-A84C-CC1B48C98F35}" destId="{150EC898-5EE1-4BD3-871B-B52671B26D23}" srcOrd="6" destOrd="0" presId="urn:microsoft.com/office/officeart/2005/8/layout/vList2"/>
    <dgm:cxn modelId="{100599F7-5C4E-4890-9CE3-B604C8342007}" type="presParOf" srcId="{EF2A3DF3-EFB6-4EC4-A84C-CC1B48C98F35}" destId="{381ED18D-0E92-4FE6-B3A1-B2F53A3FAED1}" srcOrd="7" destOrd="0" presId="urn:microsoft.com/office/officeart/2005/8/layout/vList2"/>
    <dgm:cxn modelId="{0CFE4CAC-3145-42B3-90C0-222BDDD890E5}" type="presParOf" srcId="{EF2A3DF3-EFB6-4EC4-A84C-CC1B48C98F35}" destId="{BA940351-0661-409A-89A2-EFCEFD065A85}" srcOrd="8"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64.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dgm:spPr/>
      <dgm:t>
        <a:bodyPr/>
        <a:lstStyle/>
        <a:p>
          <a:endParaRPr lang="it-IT"/>
        </a:p>
      </dgm:t>
    </dgm:pt>
    <dgm:pt modelId="{72D59079-C521-4525-81A4-701D931A8233}">
      <dgm:prSet/>
      <dgm:spPr/>
      <dgm:t>
        <a:bodyPr/>
        <a:lstStyle/>
        <a:p>
          <a:pPr rtl="0"/>
          <a:r>
            <a:rPr lang="it-IT" b="1" dirty="0" smtClean="0"/>
            <a:t>Le tendenze internazionali e nazionali</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39E53AB2-EBDB-42A1-B630-48DC5C869D9B}" type="presOf" srcId="{72D59079-C521-4525-81A4-701D931A8233}" destId="{9CE9EFE3-4E69-404A-8A99-59388A9E3922}" srcOrd="0" destOrd="0" presId="urn:microsoft.com/office/officeart/2005/8/layout/chevronAccent+Icon"/>
    <dgm:cxn modelId="{DACBAAA9-5CBF-4833-97AE-3D72FD8039FD}" type="presOf" srcId="{9AF403A6-2C5C-4F1B-B787-47496D3DBC71}" destId="{639FA514-32E4-4E31-8688-3C040A3F30E9}" srcOrd="0" destOrd="0" presId="urn:microsoft.com/office/officeart/2005/8/layout/chevronAccent+Icon"/>
    <dgm:cxn modelId="{F53B3C78-80C2-4FB3-8473-60FB8DB3DD8B}" type="presParOf" srcId="{639FA514-32E4-4E31-8688-3C040A3F30E9}" destId="{F100BA9B-D4E3-421F-B5D8-42E4C50A115C}" srcOrd="0" destOrd="0" presId="urn:microsoft.com/office/officeart/2005/8/layout/chevronAccent+Icon"/>
    <dgm:cxn modelId="{419CCBAE-A923-40B3-BBCE-8F22048D0D76}" type="presParOf" srcId="{F100BA9B-D4E3-421F-B5D8-42E4C50A115C}" destId="{51AD98A5-0898-43D1-8FB1-9AA58104A73C}" srcOrd="0" destOrd="0" presId="urn:microsoft.com/office/officeart/2005/8/layout/chevronAccent+Icon"/>
    <dgm:cxn modelId="{CCE5E5DA-CE1C-4391-87F4-A31BE07565B8}"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5.xml><?xml version="1.0" encoding="utf-8"?>
<dgm:dataModel xmlns:dgm="http://schemas.openxmlformats.org/drawingml/2006/diagram" xmlns:a="http://schemas.openxmlformats.org/drawingml/2006/main">
  <dgm:ptLst>
    <dgm:pt modelId="{7F3256DC-A91D-4B31-9C5B-2CFEEC1CCED2}" type="doc">
      <dgm:prSet loTypeId="urn:microsoft.com/office/officeart/2005/8/layout/process4" loCatId="list" qsTypeId="urn:microsoft.com/office/officeart/2005/8/quickstyle/simple1" qsCatId="simple" csTypeId="urn:microsoft.com/office/officeart/2005/8/colors/accent6_1" csCatId="accent6" phldr="1"/>
      <dgm:spPr/>
      <dgm:t>
        <a:bodyPr/>
        <a:lstStyle/>
        <a:p>
          <a:endParaRPr lang="it-IT"/>
        </a:p>
      </dgm:t>
    </dgm:pt>
    <dgm:pt modelId="{C8F16073-C276-439A-ACD9-147EC6C284E2}">
      <dgm:prSet custT="1"/>
      <dgm:spPr/>
      <dgm:t>
        <a:bodyPr/>
        <a:lstStyle/>
        <a:p>
          <a:pPr algn="just" rtl="0"/>
          <a:r>
            <a:rPr lang="it-IT" sz="1600" b="1" dirty="0" smtClean="0"/>
            <a:t>La Sicilia può sfruttare la crescita del turismo internazionale in quanto dispone di punti di forza e di vantaggi competitivi:</a:t>
          </a:r>
          <a:endParaRPr lang="it-IT" sz="1600" b="1" dirty="0"/>
        </a:p>
      </dgm:t>
    </dgm:pt>
    <dgm:pt modelId="{808784CB-1010-44F0-A98D-127A4EEF81B4}" type="parTrans" cxnId="{D1335D08-878C-4E55-A228-338786DEC1CF}">
      <dgm:prSet/>
      <dgm:spPr/>
      <dgm:t>
        <a:bodyPr/>
        <a:lstStyle/>
        <a:p>
          <a:endParaRPr lang="it-IT"/>
        </a:p>
      </dgm:t>
    </dgm:pt>
    <dgm:pt modelId="{4E479A68-DA8B-4C5E-AFBB-E3F4273CA5B5}" type="sibTrans" cxnId="{D1335D08-878C-4E55-A228-338786DEC1CF}">
      <dgm:prSet/>
      <dgm:spPr/>
      <dgm:t>
        <a:bodyPr/>
        <a:lstStyle/>
        <a:p>
          <a:endParaRPr lang="it-IT"/>
        </a:p>
      </dgm:t>
    </dgm:pt>
    <dgm:pt modelId="{D35B36D8-340D-40DD-A69C-C3EB52E09957}" type="pres">
      <dgm:prSet presAssocID="{7F3256DC-A91D-4B31-9C5B-2CFEEC1CCED2}" presName="Name0" presStyleCnt="0">
        <dgm:presLayoutVars>
          <dgm:dir/>
          <dgm:animLvl val="lvl"/>
          <dgm:resizeHandles val="exact"/>
        </dgm:presLayoutVars>
      </dgm:prSet>
      <dgm:spPr/>
      <dgm:t>
        <a:bodyPr/>
        <a:lstStyle/>
        <a:p>
          <a:endParaRPr lang="it-IT"/>
        </a:p>
      </dgm:t>
    </dgm:pt>
    <dgm:pt modelId="{8B779753-26D9-4747-AEF8-ED4B15205702}" type="pres">
      <dgm:prSet presAssocID="{C8F16073-C276-439A-ACD9-147EC6C284E2}" presName="boxAndChildren" presStyleCnt="0"/>
      <dgm:spPr/>
    </dgm:pt>
    <dgm:pt modelId="{6EC256FC-9A38-4083-BFE1-F68DE52602FB}" type="pres">
      <dgm:prSet presAssocID="{C8F16073-C276-439A-ACD9-147EC6C284E2}" presName="parentTextBox" presStyleLbl="node1" presStyleIdx="0" presStyleCnt="1"/>
      <dgm:spPr/>
      <dgm:t>
        <a:bodyPr/>
        <a:lstStyle/>
        <a:p>
          <a:endParaRPr lang="it-IT"/>
        </a:p>
      </dgm:t>
    </dgm:pt>
  </dgm:ptLst>
  <dgm:cxnLst>
    <dgm:cxn modelId="{DE25AB02-BBB4-4359-9BF4-85880AB0EB7F}" type="presOf" srcId="{7F3256DC-A91D-4B31-9C5B-2CFEEC1CCED2}" destId="{D35B36D8-340D-40DD-A69C-C3EB52E09957}" srcOrd="0" destOrd="0" presId="urn:microsoft.com/office/officeart/2005/8/layout/process4"/>
    <dgm:cxn modelId="{2B0D388F-9707-4256-AA70-A1CAE73CDDFE}" type="presOf" srcId="{C8F16073-C276-439A-ACD9-147EC6C284E2}" destId="{6EC256FC-9A38-4083-BFE1-F68DE52602FB}" srcOrd="0" destOrd="0" presId="urn:microsoft.com/office/officeart/2005/8/layout/process4"/>
    <dgm:cxn modelId="{D1335D08-878C-4E55-A228-338786DEC1CF}" srcId="{7F3256DC-A91D-4B31-9C5B-2CFEEC1CCED2}" destId="{C8F16073-C276-439A-ACD9-147EC6C284E2}" srcOrd="0" destOrd="0" parTransId="{808784CB-1010-44F0-A98D-127A4EEF81B4}" sibTransId="{4E479A68-DA8B-4C5E-AFBB-E3F4273CA5B5}"/>
    <dgm:cxn modelId="{01DCAB83-7000-468A-A074-6CC2C622DFD1}" type="presParOf" srcId="{D35B36D8-340D-40DD-A69C-C3EB52E09957}" destId="{8B779753-26D9-4747-AEF8-ED4B15205702}" srcOrd="0" destOrd="0" presId="urn:microsoft.com/office/officeart/2005/8/layout/process4"/>
    <dgm:cxn modelId="{25738222-BC2A-4572-AFF1-0D1855EC78E6}" type="presParOf" srcId="{8B779753-26D9-4747-AEF8-ED4B15205702}" destId="{6EC256FC-9A38-4083-BFE1-F68DE52602FB}"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6.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dgm:spPr/>
      <dgm:t>
        <a:bodyPr/>
        <a:lstStyle/>
        <a:p>
          <a:pPr rtl="0"/>
          <a:r>
            <a:rPr lang="it-IT" b="1" dirty="0" smtClean="0">
              <a:effectLst>
                <a:outerShdw blurRad="38100" dist="38100" dir="2700000" algn="tl">
                  <a:srgbClr val="000000">
                    <a:alpha val="43137"/>
                  </a:srgbClr>
                </a:outerShdw>
              </a:effectLst>
            </a:rPr>
            <a:t>1. Sistema produttivo</a:t>
          </a:r>
          <a:endParaRPr lang="it-IT"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2136A212-686D-437D-A044-94F5ADC58D21}" type="presOf" srcId="{188FD03C-7D6A-4D29-8FCB-9C1383057E36}" destId="{C08F212E-D010-4B1B-884C-243E8BB88BD2}" srcOrd="0" destOrd="0" presId="urn:microsoft.com/office/officeart/2005/8/layout/list1"/>
    <dgm:cxn modelId="{0C08D944-CE3F-4670-9405-62F041A07712}" type="presOf" srcId="{E4C7AF03-E2BD-4E48-8DAB-C1261D3D7EA9}" destId="{03DB856F-DE91-4CA0-AD05-B356DE21BFDC}"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6ADBFE0E-AA34-4B0F-AC01-2DAABA0FD1F6}" type="presOf" srcId="{E4C7AF03-E2BD-4E48-8DAB-C1261D3D7EA9}" destId="{21D380AD-5D38-4835-9FB5-615E5454C686}" srcOrd="1" destOrd="0" presId="urn:microsoft.com/office/officeart/2005/8/layout/list1"/>
    <dgm:cxn modelId="{6D22FF21-1D96-4A5C-BC20-1C09A8A1CFDE}" type="presParOf" srcId="{C08F212E-D010-4B1B-884C-243E8BB88BD2}" destId="{A042C0D5-6636-40E8-83EA-703099528EDB}" srcOrd="0" destOrd="0" presId="urn:microsoft.com/office/officeart/2005/8/layout/list1"/>
    <dgm:cxn modelId="{03509F74-CB82-470F-B75F-497B104D4168}" type="presParOf" srcId="{A042C0D5-6636-40E8-83EA-703099528EDB}" destId="{03DB856F-DE91-4CA0-AD05-B356DE21BFDC}" srcOrd="0" destOrd="0" presId="urn:microsoft.com/office/officeart/2005/8/layout/list1"/>
    <dgm:cxn modelId="{FD64B43A-A683-48CC-BA9B-5EF7EA2C0500}" type="presParOf" srcId="{A042C0D5-6636-40E8-83EA-703099528EDB}" destId="{21D380AD-5D38-4835-9FB5-615E5454C686}" srcOrd="1" destOrd="0" presId="urn:microsoft.com/office/officeart/2005/8/layout/list1"/>
    <dgm:cxn modelId="{9DC7BCE5-86A3-4A58-AFD8-73D1852B70B1}" type="presParOf" srcId="{C08F212E-D010-4B1B-884C-243E8BB88BD2}" destId="{E77B3B8A-36B6-4AF7-9D59-DF889FA8E07C}" srcOrd="1" destOrd="0" presId="urn:microsoft.com/office/officeart/2005/8/layout/list1"/>
    <dgm:cxn modelId="{DC09E136-04A5-4BB5-B24B-DEA1FD34593B}"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7.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La posizione competitiva della Sicilia</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46F439AD-15B3-43E3-AB64-EE123098B2C7}" type="presOf" srcId="{9AF403A6-2C5C-4F1B-B787-47496D3DBC71}" destId="{639FA514-32E4-4E31-8688-3C040A3F30E9}" srcOrd="0" destOrd="0" presId="urn:microsoft.com/office/officeart/2005/8/layout/chevronAccent+Icon"/>
    <dgm:cxn modelId="{58E1DA98-F135-4699-8D2F-F0E81F2FA480}" type="presOf" srcId="{72D59079-C521-4525-81A4-701D931A8233}" destId="{9CE9EFE3-4E69-404A-8A99-59388A9E3922}" srcOrd="0" destOrd="0" presId="urn:microsoft.com/office/officeart/2005/8/layout/chevronAccent+Icon"/>
    <dgm:cxn modelId="{F56F1F1B-D8E4-4414-8349-A53608AF601F}" type="presParOf" srcId="{639FA514-32E4-4E31-8688-3C040A3F30E9}" destId="{F100BA9B-D4E3-421F-B5D8-42E4C50A115C}" srcOrd="0" destOrd="0" presId="urn:microsoft.com/office/officeart/2005/8/layout/chevronAccent+Icon"/>
    <dgm:cxn modelId="{3ED1719C-1B2F-455B-A41B-39D531A311A8}" type="presParOf" srcId="{F100BA9B-D4E3-421F-B5D8-42E4C50A115C}" destId="{51AD98A5-0898-43D1-8FB1-9AA58104A73C}" srcOrd="0" destOrd="0" presId="urn:microsoft.com/office/officeart/2005/8/layout/chevronAccent+Icon"/>
    <dgm:cxn modelId="{E9D22BC4-7D1C-42AD-973F-1B90F7534685}"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68.xml><?xml version="1.0" encoding="utf-8"?>
<dgm:dataModel xmlns:dgm="http://schemas.openxmlformats.org/drawingml/2006/diagram" xmlns:a="http://schemas.openxmlformats.org/drawingml/2006/main">
  <dgm:ptLst>
    <dgm:pt modelId="{D9B9E09E-ADBF-4B02-A0E2-5FF74FAB0688}" type="doc">
      <dgm:prSet loTypeId="urn:microsoft.com/office/officeart/2008/layout/LinedList" loCatId="list" qsTypeId="urn:microsoft.com/office/officeart/2005/8/quickstyle/simple1" qsCatId="simple" csTypeId="urn:microsoft.com/office/officeart/2005/8/colors/accent6_1" csCatId="accent6" phldr="1"/>
      <dgm:spPr/>
      <dgm:t>
        <a:bodyPr/>
        <a:lstStyle/>
        <a:p>
          <a:endParaRPr lang="it-IT"/>
        </a:p>
      </dgm:t>
    </dgm:pt>
    <dgm:pt modelId="{13D00DDE-6EF9-42B0-9E2A-8E9B0D81E505}">
      <dgm:prSet custT="1"/>
      <dgm:spPr/>
      <dgm:t>
        <a:bodyPr/>
        <a:lstStyle/>
        <a:p>
          <a:pPr algn="just" rtl="0"/>
          <a:r>
            <a:rPr lang="it-IT" sz="1800" dirty="0" smtClean="0"/>
            <a:t>Un vantaggio competitivo forte, incrementabile e durevole è dato dal</a:t>
          </a:r>
          <a:r>
            <a:rPr lang="it-IT" sz="1800" b="1" dirty="0" smtClean="0"/>
            <a:t> vasto e unico patrimonio storico-culturale, riconosciuto in tutto il mondo </a:t>
          </a:r>
          <a:r>
            <a:rPr lang="it-IT" sz="1800" b="0" dirty="0" smtClean="0"/>
            <a:t>(</a:t>
          </a:r>
          <a:r>
            <a:rPr lang="it-IT" sz="1800" dirty="0" smtClean="0"/>
            <a:t>111 strutture di cui : 62 zone archeologiche; 19 musei archeologici; 21 musei; 9 antiquaria). In Sicilia si concentra oltre il 9% del patrimonio culturale nazionale, percentuale che sale al 30% se si considerano solo i beni archeologici. Tale patrimonio origina un flusso rilevante di visitatori stranieri </a:t>
          </a:r>
          <a:r>
            <a:rPr lang="it-IT" sz="1800" b="1" dirty="0" smtClean="0"/>
            <a:t>(37,3% arrivi e 39,1% presenze)</a:t>
          </a:r>
          <a:r>
            <a:rPr lang="it-IT" sz="1800" dirty="0" smtClean="0"/>
            <a:t> nelle località d'interesse storico e artistico della regione, principalmente in provenienza da Francia, Germania, USA, Regno Unito, Spagna </a:t>
          </a:r>
          <a:endParaRPr lang="it-IT" sz="1800" dirty="0"/>
        </a:p>
      </dgm:t>
    </dgm:pt>
    <dgm:pt modelId="{2D4F3ABD-27E4-421A-85C7-6621879576E1}" type="parTrans" cxnId="{ACA36606-93C5-48BE-9079-7D97CEFF9E52}">
      <dgm:prSet/>
      <dgm:spPr/>
      <dgm:t>
        <a:bodyPr/>
        <a:lstStyle/>
        <a:p>
          <a:endParaRPr lang="it-IT"/>
        </a:p>
      </dgm:t>
    </dgm:pt>
    <dgm:pt modelId="{37DB8B20-3CE7-46BE-9494-95D5EB3F8C05}" type="sibTrans" cxnId="{ACA36606-93C5-48BE-9079-7D97CEFF9E52}">
      <dgm:prSet/>
      <dgm:spPr/>
      <dgm:t>
        <a:bodyPr/>
        <a:lstStyle/>
        <a:p>
          <a:endParaRPr lang="it-IT"/>
        </a:p>
      </dgm:t>
    </dgm:pt>
    <dgm:pt modelId="{EF87B28E-AA40-44FE-8C4D-CC3AF2587BDA}">
      <dgm:prSet/>
      <dgm:spPr/>
      <dgm:t>
        <a:bodyPr/>
        <a:lstStyle/>
        <a:p>
          <a:pPr rtl="0"/>
          <a:endParaRPr lang="it-IT"/>
        </a:p>
      </dgm:t>
    </dgm:pt>
    <dgm:pt modelId="{4CA4FE80-D360-449E-9A65-B24EB0A3CBB9}" type="sibTrans" cxnId="{0462CF4D-C45D-4E52-9355-999B50F21A3B}">
      <dgm:prSet/>
      <dgm:spPr/>
      <dgm:t>
        <a:bodyPr/>
        <a:lstStyle/>
        <a:p>
          <a:endParaRPr lang="it-IT"/>
        </a:p>
      </dgm:t>
    </dgm:pt>
    <dgm:pt modelId="{66CF776F-4424-45DB-97DA-B8DDE815A4BE}" type="parTrans" cxnId="{0462CF4D-C45D-4E52-9355-999B50F21A3B}">
      <dgm:prSet/>
      <dgm:spPr/>
      <dgm:t>
        <a:bodyPr/>
        <a:lstStyle/>
        <a:p>
          <a:endParaRPr lang="it-IT"/>
        </a:p>
      </dgm:t>
    </dgm:pt>
    <dgm:pt modelId="{07AD62CC-9FE0-4896-B2F0-7DA6A2F829B7}" type="pres">
      <dgm:prSet presAssocID="{D9B9E09E-ADBF-4B02-A0E2-5FF74FAB0688}" presName="vert0" presStyleCnt="0">
        <dgm:presLayoutVars>
          <dgm:dir/>
          <dgm:animOne val="branch"/>
          <dgm:animLvl val="lvl"/>
        </dgm:presLayoutVars>
      </dgm:prSet>
      <dgm:spPr/>
      <dgm:t>
        <a:bodyPr/>
        <a:lstStyle/>
        <a:p>
          <a:endParaRPr lang="it-IT"/>
        </a:p>
      </dgm:t>
    </dgm:pt>
    <dgm:pt modelId="{DB4EEFDD-E54F-4207-BC18-4F04CD1FA012}" type="pres">
      <dgm:prSet presAssocID="{13D00DDE-6EF9-42B0-9E2A-8E9B0D81E505}" presName="thickLine" presStyleLbl="alignNode1" presStyleIdx="0" presStyleCnt="2"/>
      <dgm:spPr/>
    </dgm:pt>
    <dgm:pt modelId="{24B1C22D-481E-4B48-8F7A-7DB8B1CF41E8}" type="pres">
      <dgm:prSet presAssocID="{13D00DDE-6EF9-42B0-9E2A-8E9B0D81E505}" presName="horz1" presStyleCnt="0"/>
      <dgm:spPr/>
    </dgm:pt>
    <dgm:pt modelId="{2608172C-6B71-4C38-B713-A3C63C66FF45}" type="pres">
      <dgm:prSet presAssocID="{13D00DDE-6EF9-42B0-9E2A-8E9B0D81E505}" presName="tx1" presStyleLbl="revTx" presStyleIdx="0" presStyleCnt="2" custScaleX="100098" custScaleY="201179" custLinFactNeighborY="-15416"/>
      <dgm:spPr/>
      <dgm:t>
        <a:bodyPr/>
        <a:lstStyle/>
        <a:p>
          <a:endParaRPr lang="it-IT"/>
        </a:p>
      </dgm:t>
    </dgm:pt>
    <dgm:pt modelId="{00A3BCC3-BAB2-44AC-B78B-F014947D3FEA}" type="pres">
      <dgm:prSet presAssocID="{13D00DDE-6EF9-42B0-9E2A-8E9B0D81E505}" presName="vert1" presStyleCnt="0"/>
      <dgm:spPr/>
    </dgm:pt>
    <dgm:pt modelId="{404EE018-A5B0-4470-B596-11D4481052E8}" type="pres">
      <dgm:prSet presAssocID="{EF87B28E-AA40-44FE-8C4D-CC3AF2587BDA}" presName="thickLine" presStyleLbl="alignNode1" presStyleIdx="1" presStyleCnt="2"/>
      <dgm:spPr/>
    </dgm:pt>
    <dgm:pt modelId="{5387F8EE-6EC3-4EE3-89DC-CFA51722CFFF}" type="pres">
      <dgm:prSet presAssocID="{EF87B28E-AA40-44FE-8C4D-CC3AF2587BDA}" presName="horz1" presStyleCnt="0"/>
      <dgm:spPr/>
    </dgm:pt>
    <dgm:pt modelId="{28B2F38C-88C3-4EED-803D-19297A7D3D07}" type="pres">
      <dgm:prSet presAssocID="{EF87B28E-AA40-44FE-8C4D-CC3AF2587BDA}" presName="tx1" presStyleLbl="revTx" presStyleIdx="1" presStyleCnt="2" custFlipVert="0" custScaleY="5707" custLinFactNeighborY="-19582"/>
      <dgm:spPr/>
      <dgm:t>
        <a:bodyPr/>
        <a:lstStyle/>
        <a:p>
          <a:endParaRPr lang="it-IT"/>
        </a:p>
      </dgm:t>
    </dgm:pt>
    <dgm:pt modelId="{BB941D3D-2528-429B-8CCD-8C8EDFFEA3EA}" type="pres">
      <dgm:prSet presAssocID="{EF87B28E-AA40-44FE-8C4D-CC3AF2587BDA}" presName="vert1" presStyleCnt="0"/>
      <dgm:spPr/>
    </dgm:pt>
  </dgm:ptLst>
  <dgm:cxnLst>
    <dgm:cxn modelId="{03C5AD1F-6E90-41BC-9908-7C01D85C6DB4}" type="presOf" srcId="{EF87B28E-AA40-44FE-8C4D-CC3AF2587BDA}" destId="{28B2F38C-88C3-4EED-803D-19297A7D3D07}" srcOrd="0" destOrd="0" presId="urn:microsoft.com/office/officeart/2008/layout/LinedList"/>
    <dgm:cxn modelId="{0462CF4D-C45D-4E52-9355-999B50F21A3B}" srcId="{D9B9E09E-ADBF-4B02-A0E2-5FF74FAB0688}" destId="{EF87B28E-AA40-44FE-8C4D-CC3AF2587BDA}" srcOrd="1" destOrd="0" parTransId="{66CF776F-4424-45DB-97DA-B8DDE815A4BE}" sibTransId="{4CA4FE80-D360-449E-9A65-B24EB0A3CBB9}"/>
    <dgm:cxn modelId="{C89FE825-A027-4807-9803-92ECA65E8430}" type="presOf" srcId="{13D00DDE-6EF9-42B0-9E2A-8E9B0D81E505}" destId="{2608172C-6B71-4C38-B713-A3C63C66FF45}" srcOrd="0" destOrd="0" presId="urn:microsoft.com/office/officeart/2008/layout/LinedList"/>
    <dgm:cxn modelId="{ACA36606-93C5-48BE-9079-7D97CEFF9E52}" srcId="{D9B9E09E-ADBF-4B02-A0E2-5FF74FAB0688}" destId="{13D00DDE-6EF9-42B0-9E2A-8E9B0D81E505}" srcOrd="0" destOrd="0" parTransId="{2D4F3ABD-27E4-421A-85C7-6621879576E1}" sibTransId="{37DB8B20-3CE7-46BE-9494-95D5EB3F8C05}"/>
    <dgm:cxn modelId="{44A5AE15-4088-44F0-99EB-525391AE886E}" type="presOf" srcId="{D9B9E09E-ADBF-4B02-A0E2-5FF74FAB0688}" destId="{07AD62CC-9FE0-4896-B2F0-7DA6A2F829B7}" srcOrd="0" destOrd="0" presId="urn:microsoft.com/office/officeart/2008/layout/LinedList"/>
    <dgm:cxn modelId="{8B99B49E-AB56-4983-B718-33C3D284AE61}" type="presParOf" srcId="{07AD62CC-9FE0-4896-B2F0-7DA6A2F829B7}" destId="{DB4EEFDD-E54F-4207-BC18-4F04CD1FA012}" srcOrd="0" destOrd="0" presId="urn:microsoft.com/office/officeart/2008/layout/LinedList"/>
    <dgm:cxn modelId="{7554026E-BFA7-45E3-B1A3-1F1E90F4FE7B}" type="presParOf" srcId="{07AD62CC-9FE0-4896-B2F0-7DA6A2F829B7}" destId="{24B1C22D-481E-4B48-8F7A-7DB8B1CF41E8}" srcOrd="1" destOrd="0" presId="urn:microsoft.com/office/officeart/2008/layout/LinedList"/>
    <dgm:cxn modelId="{DDA51D25-142C-4D52-87C0-5D5C397F1A85}" type="presParOf" srcId="{24B1C22D-481E-4B48-8F7A-7DB8B1CF41E8}" destId="{2608172C-6B71-4C38-B713-A3C63C66FF45}" srcOrd="0" destOrd="0" presId="urn:microsoft.com/office/officeart/2008/layout/LinedList"/>
    <dgm:cxn modelId="{74EA2072-F9A3-46F4-A249-A454F3156344}" type="presParOf" srcId="{24B1C22D-481E-4B48-8F7A-7DB8B1CF41E8}" destId="{00A3BCC3-BAB2-44AC-B78B-F014947D3FEA}" srcOrd="1" destOrd="0" presId="urn:microsoft.com/office/officeart/2008/layout/LinedList"/>
    <dgm:cxn modelId="{CF2B1763-1A4B-447B-96D1-192CF918EC93}" type="presParOf" srcId="{07AD62CC-9FE0-4896-B2F0-7DA6A2F829B7}" destId="{404EE018-A5B0-4470-B596-11D4481052E8}" srcOrd="2" destOrd="0" presId="urn:microsoft.com/office/officeart/2008/layout/LinedList"/>
    <dgm:cxn modelId="{4A76EAA7-B867-4C97-BDE8-B5F3219DD56A}" type="presParOf" srcId="{07AD62CC-9FE0-4896-B2F0-7DA6A2F829B7}" destId="{5387F8EE-6EC3-4EE3-89DC-CFA51722CFFF}" srcOrd="3" destOrd="0" presId="urn:microsoft.com/office/officeart/2008/layout/LinedList"/>
    <dgm:cxn modelId="{A78E1AAB-03EA-4F01-8F03-069C3A683DE5}" type="presParOf" srcId="{5387F8EE-6EC3-4EE3-89DC-CFA51722CFFF}" destId="{28B2F38C-88C3-4EED-803D-19297A7D3D07}" srcOrd="0" destOrd="0" presId="urn:microsoft.com/office/officeart/2008/layout/LinedList"/>
    <dgm:cxn modelId="{C9B00458-76A1-4E6B-820A-1A5924B7BE6D}" type="presParOf" srcId="{5387F8EE-6EC3-4EE3-89DC-CFA51722CFFF}" destId="{BB941D3D-2528-429B-8CCD-8C8EDFFEA3EA}" srcOrd="1" destOrd="0" presId="urn:microsoft.com/office/officeart/2008/layout/LinedList"/>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9.xml><?xml version="1.0" encoding="utf-8"?>
<dgm:dataModel xmlns:dgm="http://schemas.openxmlformats.org/drawingml/2006/diagram" xmlns:a="http://schemas.openxmlformats.org/drawingml/2006/main">
  <dgm:ptLst>
    <dgm:pt modelId="{7F3256DC-A91D-4B31-9C5B-2CFEEC1CCED2}" type="doc">
      <dgm:prSet loTypeId="urn:microsoft.com/office/officeart/2005/8/layout/process4" loCatId="list" qsTypeId="urn:microsoft.com/office/officeart/2005/8/quickstyle/simple1" qsCatId="simple" csTypeId="urn:microsoft.com/office/officeart/2005/8/colors/accent6_1" csCatId="accent6" phldr="1"/>
      <dgm:spPr/>
      <dgm:t>
        <a:bodyPr/>
        <a:lstStyle/>
        <a:p>
          <a:endParaRPr lang="it-IT"/>
        </a:p>
      </dgm:t>
    </dgm:pt>
    <dgm:pt modelId="{C8F16073-C276-439A-ACD9-147EC6C284E2}">
      <dgm:prSet custT="1"/>
      <dgm:spPr/>
      <dgm:t>
        <a:bodyPr/>
        <a:lstStyle/>
        <a:p>
          <a:pPr algn="just" rtl="0"/>
          <a:r>
            <a:rPr lang="it-IT" sz="1600" b="1" dirty="0" smtClean="0"/>
            <a:t>La Sicilia può sfruttare la crescita del turismo internazionale in quanto dispone di punti di forza e di vantaggi competitivi:</a:t>
          </a:r>
          <a:endParaRPr lang="it-IT" sz="1600" b="1" dirty="0"/>
        </a:p>
      </dgm:t>
    </dgm:pt>
    <dgm:pt modelId="{808784CB-1010-44F0-A98D-127A4EEF81B4}" type="parTrans" cxnId="{D1335D08-878C-4E55-A228-338786DEC1CF}">
      <dgm:prSet/>
      <dgm:spPr/>
      <dgm:t>
        <a:bodyPr/>
        <a:lstStyle/>
        <a:p>
          <a:endParaRPr lang="it-IT"/>
        </a:p>
      </dgm:t>
    </dgm:pt>
    <dgm:pt modelId="{4E479A68-DA8B-4C5E-AFBB-E3F4273CA5B5}" type="sibTrans" cxnId="{D1335D08-878C-4E55-A228-338786DEC1CF}">
      <dgm:prSet/>
      <dgm:spPr/>
      <dgm:t>
        <a:bodyPr/>
        <a:lstStyle/>
        <a:p>
          <a:endParaRPr lang="it-IT"/>
        </a:p>
      </dgm:t>
    </dgm:pt>
    <dgm:pt modelId="{D35B36D8-340D-40DD-A69C-C3EB52E09957}" type="pres">
      <dgm:prSet presAssocID="{7F3256DC-A91D-4B31-9C5B-2CFEEC1CCED2}" presName="Name0" presStyleCnt="0">
        <dgm:presLayoutVars>
          <dgm:dir/>
          <dgm:animLvl val="lvl"/>
          <dgm:resizeHandles val="exact"/>
        </dgm:presLayoutVars>
      </dgm:prSet>
      <dgm:spPr/>
      <dgm:t>
        <a:bodyPr/>
        <a:lstStyle/>
        <a:p>
          <a:endParaRPr lang="it-IT"/>
        </a:p>
      </dgm:t>
    </dgm:pt>
    <dgm:pt modelId="{8B779753-26D9-4747-AEF8-ED4B15205702}" type="pres">
      <dgm:prSet presAssocID="{C8F16073-C276-439A-ACD9-147EC6C284E2}" presName="boxAndChildren" presStyleCnt="0"/>
      <dgm:spPr/>
    </dgm:pt>
    <dgm:pt modelId="{6EC256FC-9A38-4083-BFE1-F68DE52602FB}" type="pres">
      <dgm:prSet presAssocID="{C8F16073-C276-439A-ACD9-147EC6C284E2}" presName="parentTextBox" presStyleLbl="node1" presStyleIdx="0" presStyleCnt="1"/>
      <dgm:spPr/>
      <dgm:t>
        <a:bodyPr/>
        <a:lstStyle/>
        <a:p>
          <a:endParaRPr lang="it-IT"/>
        </a:p>
      </dgm:t>
    </dgm:pt>
  </dgm:ptLst>
  <dgm:cxnLst>
    <dgm:cxn modelId="{DD579477-8551-4D8F-BA08-EB54F7FD2889}" type="presOf" srcId="{C8F16073-C276-439A-ACD9-147EC6C284E2}" destId="{6EC256FC-9A38-4083-BFE1-F68DE52602FB}" srcOrd="0" destOrd="0" presId="urn:microsoft.com/office/officeart/2005/8/layout/process4"/>
    <dgm:cxn modelId="{85428D78-4B7E-4BFE-8D2D-76CF8B2F5EA6}" type="presOf" srcId="{7F3256DC-A91D-4B31-9C5B-2CFEEC1CCED2}" destId="{D35B36D8-340D-40DD-A69C-C3EB52E09957}" srcOrd="0" destOrd="0" presId="urn:microsoft.com/office/officeart/2005/8/layout/process4"/>
    <dgm:cxn modelId="{D1335D08-878C-4E55-A228-338786DEC1CF}" srcId="{7F3256DC-A91D-4B31-9C5B-2CFEEC1CCED2}" destId="{C8F16073-C276-439A-ACD9-147EC6C284E2}" srcOrd="0" destOrd="0" parTransId="{808784CB-1010-44F0-A98D-127A4EEF81B4}" sibTransId="{4E479A68-DA8B-4C5E-AFBB-E3F4273CA5B5}"/>
    <dgm:cxn modelId="{B2E67E66-F490-471D-8C64-78D17F6CF5EB}" type="presParOf" srcId="{D35B36D8-340D-40DD-A69C-C3EB52E09957}" destId="{8B779753-26D9-4747-AEF8-ED4B15205702}" srcOrd="0" destOrd="0" presId="urn:microsoft.com/office/officeart/2005/8/layout/process4"/>
    <dgm:cxn modelId="{F4444B21-EA1F-4284-B291-04D492D67FE4}" type="presParOf" srcId="{8B779753-26D9-4747-AEF8-ED4B15205702}" destId="{6EC256FC-9A38-4083-BFE1-F68DE52602FB}"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E3B8733-AE13-4A7B-A32B-B74DE4C528D7}" type="doc">
      <dgm:prSet loTypeId="urn:microsoft.com/office/officeart/2005/8/layout/vList5" loCatId="list" qsTypeId="urn:microsoft.com/office/officeart/2005/8/quickstyle/3d1" qsCatId="3D" csTypeId="urn:microsoft.com/office/officeart/2005/8/colors/accent2_5" csCatId="accent2" phldr="1"/>
      <dgm:spPr/>
      <dgm:t>
        <a:bodyPr/>
        <a:lstStyle/>
        <a:p>
          <a:endParaRPr lang="it-IT"/>
        </a:p>
      </dgm:t>
    </dgm:pt>
    <dgm:pt modelId="{F23A2E33-A7A9-4C0C-9E2D-FE9B09B27B0C}">
      <dgm:prSet phldrT="[Testo]" custT="1"/>
      <dgm:spPr/>
      <dgm:t>
        <a:bodyPr/>
        <a:lstStyle/>
        <a:p>
          <a:r>
            <a:rPr lang="it-IT" sz="2400" b="1" dirty="0" smtClean="0"/>
            <a:t>TAVOLI TEMATICI</a:t>
          </a:r>
          <a:endParaRPr lang="it-IT" sz="2400" b="1" dirty="0"/>
        </a:p>
      </dgm:t>
    </dgm:pt>
    <dgm:pt modelId="{4B3C5EFE-833D-4256-8D22-790DD4FEA846}" type="parTrans" cxnId="{AA13AB5C-83C5-45C1-864A-5D3145E95840}">
      <dgm:prSet/>
      <dgm:spPr/>
      <dgm:t>
        <a:bodyPr/>
        <a:lstStyle/>
        <a:p>
          <a:endParaRPr lang="it-IT" sz="2400"/>
        </a:p>
      </dgm:t>
    </dgm:pt>
    <dgm:pt modelId="{CE2E410B-761E-4681-BB83-5F0176147C43}" type="sibTrans" cxnId="{AA13AB5C-83C5-45C1-864A-5D3145E95840}">
      <dgm:prSet/>
      <dgm:spPr/>
      <dgm:t>
        <a:bodyPr/>
        <a:lstStyle/>
        <a:p>
          <a:endParaRPr lang="it-IT" sz="2400"/>
        </a:p>
      </dgm:t>
    </dgm:pt>
    <dgm:pt modelId="{67CAF0F0-11C7-41D4-B458-17DD1ACC65D7}" type="pres">
      <dgm:prSet presAssocID="{BE3B8733-AE13-4A7B-A32B-B74DE4C528D7}" presName="Name0" presStyleCnt="0">
        <dgm:presLayoutVars>
          <dgm:dir/>
          <dgm:animLvl val="lvl"/>
          <dgm:resizeHandles val="exact"/>
        </dgm:presLayoutVars>
      </dgm:prSet>
      <dgm:spPr/>
      <dgm:t>
        <a:bodyPr/>
        <a:lstStyle/>
        <a:p>
          <a:endParaRPr lang="it-IT"/>
        </a:p>
      </dgm:t>
    </dgm:pt>
    <dgm:pt modelId="{91EF4C2B-0965-4D66-A48D-ECB7ACAE5C2D}" type="pres">
      <dgm:prSet presAssocID="{F23A2E33-A7A9-4C0C-9E2D-FE9B09B27B0C}" presName="linNode" presStyleCnt="0"/>
      <dgm:spPr/>
      <dgm:t>
        <a:bodyPr/>
        <a:lstStyle/>
        <a:p>
          <a:endParaRPr lang="it-IT"/>
        </a:p>
      </dgm:t>
    </dgm:pt>
    <dgm:pt modelId="{4B75031E-EAE2-44AE-A204-79AAE3CD8BF2}" type="pres">
      <dgm:prSet presAssocID="{F23A2E33-A7A9-4C0C-9E2D-FE9B09B27B0C}" presName="parentText" presStyleLbl="node1" presStyleIdx="0" presStyleCnt="1" custScaleX="277778" custLinFactNeighborX="136" custLinFactNeighborY="500">
        <dgm:presLayoutVars>
          <dgm:chMax val="1"/>
          <dgm:bulletEnabled val="1"/>
        </dgm:presLayoutVars>
      </dgm:prSet>
      <dgm:spPr/>
      <dgm:t>
        <a:bodyPr/>
        <a:lstStyle/>
        <a:p>
          <a:endParaRPr lang="it-IT"/>
        </a:p>
      </dgm:t>
    </dgm:pt>
  </dgm:ptLst>
  <dgm:cxnLst>
    <dgm:cxn modelId="{C966A94C-D8A0-4ADE-8951-5E6D14C8508A}" type="presOf" srcId="{BE3B8733-AE13-4A7B-A32B-B74DE4C528D7}" destId="{67CAF0F0-11C7-41D4-B458-17DD1ACC65D7}" srcOrd="0" destOrd="0" presId="urn:microsoft.com/office/officeart/2005/8/layout/vList5"/>
    <dgm:cxn modelId="{AA13AB5C-83C5-45C1-864A-5D3145E95840}" srcId="{BE3B8733-AE13-4A7B-A32B-B74DE4C528D7}" destId="{F23A2E33-A7A9-4C0C-9E2D-FE9B09B27B0C}" srcOrd="0" destOrd="0" parTransId="{4B3C5EFE-833D-4256-8D22-790DD4FEA846}" sibTransId="{CE2E410B-761E-4681-BB83-5F0176147C43}"/>
    <dgm:cxn modelId="{A82704AA-9A15-46BF-A12E-C8F5AA2D7EC2}" type="presOf" srcId="{F23A2E33-A7A9-4C0C-9E2D-FE9B09B27B0C}" destId="{4B75031E-EAE2-44AE-A204-79AAE3CD8BF2}" srcOrd="0" destOrd="0" presId="urn:microsoft.com/office/officeart/2005/8/layout/vList5"/>
    <dgm:cxn modelId="{C962FA5A-B3AD-4310-AAFD-3E8AF6430363}" type="presParOf" srcId="{67CAF0F0-11C7-41D4-B458-17DD1ACC65D7}" destId="{91EF4C2B-0965-4D66-A48D-ECB7ACAE5C2D}" srcOrd="0" destOrd="0" presId="urn:microsoft.com/office/officeart/2005/8/layout/vList5"/>
    <dgm:cxn modelId="{7CBB1B4E-D2E7-43CC-97B3-68461A5780C5}" type="presParOf" srcId="{91EF4C2B-0965-4D66-A48D-ECB7ACAE5C2D}" destId="{4B75031E-EAE2-44AE-A204-79AAE3CD8BF2}" srcOrd="0"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0.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dgm:spPr/>
      <dgm:t>
        <a:bodyPr/>
        <a:lstStyle/>
        <a:p>
          <a:pPr rtl="0"/>
          <a:r>
            <a:rPr lang="it-IT" b="1" dirty="0" smtClean="0">
              <a:effectLst>
                <a:outerShdw blurRad="38100" dist="38100" dir="2700000" algn="tl">
                  <a:srgbClr val="000000">
                    <a:alpha val="43137"/>
                  </a:srgbClr>
                </a:outerShdw>
              </a:effectLst>
            </a:rPr>
            <a:t>1. Sistema produttivo</a:t>
          </a:r>
          <a:endParaRPr lang="it-IT"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9B98B6EB-D375-49BF-B254-5D38EC0319F8}" type="presOf" srcId="{188FD03C-7D6A-4D29-8FCB-9C1383057E36}" destId="{C08F212E-D010-4B1B-884C-243E8BB88BD2}" srcOrd="0" destOrd="0" presId="urn:microsoft.com/office/officeart/2005/8/layout/list1"/>
    <dgm:cxn modelId="{CB26B3DD-BD4A-44F8-B9D4-6BAF8952E2A2}" type="presOf" srcId="{E4C7AF03-E2BD-4E48-8DAB-C1261D3D7EA9}" destId="{21D380AD-5D38-4835-9FB5-615E5454C686}" srcOrd="1"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C4082CE3-1B11-46BF-B451-50654ABA714D}" type="presOf" srcId="{E4C7AF03-E2BD-4E48-8DAB-C1261D3D7EA9}" destId="{03DB856F-DE91-4CA0-AD05-B356DE21BFDC}" srcOrd="0" destOrd="0" presId="urn:microsoft.com/office/officeart/2005/8/layout/list1"/>
    <dgm:cxn modelId="{38347814-C349-43CC-B147-33D6D44EBAFE}" type="presParOf" srcId="{C08F212E-D010-4B1B-884C-243E8BB88BD2}" destId="{A042C0D5-6636-40E8-83EA-703099528EDB}" srcOrd="0" destOrd="0" presId="urn:microsoft.com/office/officeart/2005/8/layout/list1"/>
    <dgm:cxn modelId="{609CADFE-7EEB-49C8-9366-001068BA869A}" type="presParOf" srcId="{A042C0D5-6636-40E8-83EA-703099528EDB}" destId="{03DB856F-DE91-4CA0-AD05-B356DE21BFDC}" srcOrd="0" destOrd="0" presId="urn:microsoft.com/office/officeart/2005/8/layout/list1"/>
    <dgm:cxn modelId="{0E0AE1C5-117B-4745-BAFD-49ADCF154CF1}" type="presParOf" srcId="{A042C0D5-6636-40E8-83EA-703099528EDB}" destId="{21D380AD-5D38-4835-9FB5-615E5454C686}" srcOrd="1" destOrd="0" presId="urn:microsoft.com/office/officeart/2005/8/layout/list1"/>
    <dgm:cxn modelId="{352EC392-2B01-4EAB-B39E-E5AC418AA41D}" type="presParOf" srcId="{C08F212E-D010-4B1B-884C-243E8BB88BD2}" destId="{E77B3B8A-36B6-4AF7-9D59-DF889FA8E07C}" srcOrd="1" destOrd="0" presId="urn:microsoft.com/office/officeart/2005/8/layout/list1"/>
    <dgm:cxn modelId="{93E5501B-A19A-4CBD-863B-6540F2459225}"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1.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La posizione competitiva della Sicilia</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E9076FCA-8288-4FE8-B558-53FA93E2563A}" type="presOf" srcId="{72D59079-C521-4525-81A4-701D931A8233}" destId="{9CE9EFE3-4E69-404A-8A99-59388A9E3922}" srcOrd="0" destOrd="0" presId="urn:microsoft.com/office/officeart/2005/8/layout/chevronAccent+Icon"/>
    <dgm:cxn modelId="{4BE6FFCF-23DE-458B-ABFA-CFA948100537}" type="presOf" srcId="{9AF403A6-2C5C-4F1B-B787-47496D3DBC71}" destId="{639FA514-32E4-4E31-8688-3C040A3F30E9}" srcOrd="0" destOrd="0" presId="urn:microsoft.com/office/officeart/2005/8/layout/chevronAccent+Icon"/>
    <dgm:cxn modelId="{AFA0012C-C1C0-4168-9224-D6BB4CA8747F}" type="presParOf" srcId="{639FA514-32E4-4E31-8688-3C040A3F30E9}" destId="{F100BA9B-D4E3-421F-B5D8-42E4C50A115C}" srcOrd="0" destOrd="0" presId="urn:microsoft.com/office/officeart/2005/8/layout/chevronAccent+Icon"/>
    <dgm:cxn modelId="{4ECFBBBA-AC92-4B8B-B682-8F9584919417}" type="presParOf" srcId="{F100BA9B-D4E3-421F-B5D8-42E4C50A115C}" destId="{51AD98A5-0898-43D1-8FB1-9AA58104A73C}" srcOrd="0" destOrd="0" presId="urn:microsoft.com/office/officeart/2005/8/layout/chevronAccent+Icon"/>
    <dgm:cxn modelId="{519D13CA-484D-4178-AC4E-2AE10A021C89}"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72.xml><?xml version="1.0" encoding="utf-8"?>
<dgm:dataModel xmlns:dgm="http://schemas.openxmlformats.org/drawingml/2006/diagram" xmlns:a="http://schemas.openxmlformats.org/drawingml/2006/main">
  <dgm:ptLst>
    <dgm:pt modelId="{D9B9E09E-ADBF-4B02-A0E2-5FF74FAB0688}" type="doc">
      <dgm:prSet loTypeId="urn:microsoft.com/office/officeart/2008/layout/LinedList" loCatId="list" qsTypeId="urn:microsoft.com/office/officeart/2005/8/quickstyle/simple1" qsCatId="simple" csTypeId="urn:microsoft.com/office/officeart/2005/8/colors/accent6_1" csCatId="accent6" phldr="1"/>
      <dgm:spPr/>
      <dgm:t>
        <a:bodyPr/>
        <a:lstStyle/>
        <a:p>
          <a:endParaRPr lang="it-IT"/>
        </a:p>
      </dgm:t>
    </dgm:pt>
    <dgm:pt modelId="{13D00DDE-6EF9-42B0-9E2A-8E9B0D81E505}">
      <dgm:prSet custT="1"/>
      <dgm:spPr/>
      <dgm:t>
        <a:bodyPr/>
        <a:lstStyle/>
        <a:p>
          <a:pPr algn="just" rtl="0"/>
          <a:r>
            <a:rPr lang="it-IT" sz="1400" b="1" dirty="0" smtClean="0"/>
            <a:t>a) </a:t>
          </a:r>
          <a:r>
            <a:rPr lang="it-IT" sz="1400" b="0" dirty="0" smtClean="0"/>
            <a:t>Presenza di un numero significativo di strutture universitarie e di ricerca (IBAM; ICB; ICPT;IPCF; ISMN del CNR) in grado sviluppare tecnologie e competenze per la tutela e la valorizzazione integrata del patrimonio culturale</a:t>
          </a:r>
        </a:p>
        <a:p>
          <a:pPr algn="just"/>
          <a:r>
            <a:rPr lang="it-IT" sz="1400" b="1" dirty="0" smtClean="0"/>
            <a:t>b) </a:t>
          </a:r>
          <a:r>
            <a:rPr lang="it-IT" sz="1400" b="0" dirty="0" smtClean="0"/>
            <a:t>Attivazione del Distretto tecnologico beni Culturali (DTBC) dotato di competenze in molteplici settori scientifico- disciplinari che coprono tutto il ventaglio della filiera di tutela e valorizzazione del patrimonio</a:t>
          </a:r>
        </a:p>
        <a:p>
          <a:pPr algn="just"/>
          <a:r>
            <a:rPr lang="it-IT" sz="1400" b="1" dirty="0" smtClean="0"/>
            <a:t>c) </a:t>
          </a:r>
          <a:r>
            <a:rPr lang="it-IT" sz="1400" b="0" dirty="0" smtClean="0"/>
            <a:t>Presenza di risorse umane qualificate e specializzate nei campi della cultura e del turismo (acquisire dati su laureati e figure multidisciplinari)</a:t>
          </a:r>
        </a:p>
        <a:p>
          <a:pPr algn="just"/>
          <a:r>
            <a:rPr lang="it-IT" sz="1400" b="1" dirty="0" smtClean="0"/>
            <a:t>d) </a:t>
          </a:r>
          <a:r>
            <a:rPr lang="it-IT" sz="1400" b="0" dirty="0" smtClean="0"/>
            <a:t>Presenza di PMI e di nuove imprese innovative (acquisire dati su start up, spin off, PMI dei settori high tech e non</a:t>
          </a:r>
        </a:p>
        <a:p>
          <a:pPr algn="just"/>
          <a:r>
            <a:rPr lang="it-IT" sz="1400" b="1" dirty="0" smtClean="0"/>
            <a:t>e) </a:t>
          </a:r>
          <a:r>
            <a:rPr lang="it-IT" sz="1400" b="0" dirty="0" smtClean="0"/>
            <a:t>Una ricettività che, rispetto alle altre regioni del Mezzogiorno, vanta il più alto numero di posti letto totali (124.0000) e presso le strutture alberghiere di 3, 4, 5 stelle e la crescita dei B&amp;B (circa 1300 pari al 26,6% del Mezzogiorno, il segmento di strutture ricettive più diffuse, dopo quelle alberghiere, in tutte le province siciliane negli ultimi 6 anni.</a:t>
          </a:r>
        </a:p>
      </dgm:t>
    </dgm:pt>
    <dgm:pt modelId="{2D4F3ABD-27E4-421A-85C7-6621879576E1}" type="parTrans" cxnId="{ACA36606-93C5-48BE-9079-7D97CEFF9E52}">
      <dgm:prSet/>
      <dgm:spPr/>
      <dgm:t>
        <a:bodyPr/>
        <a:lstStyle/>
        <a:p>
          <a:endParaRPr lang="it-IT"/>
        </a:p>
      </dgm:t>
    </dgm:pt>
    <dgm:pt modelId="{37DB8B20-3CE7-46BE-9494-95D5EB3F8C05}" type="sibTrans" cxnId="{ACA36606-93C5-48BE-9079-7D97CEFF9E52}">
      <dgm:prSet/>
      <dgm:spPr/>
      <dgm:t>
        <a:bodyPr/>
        <a:lstStyle/>
        <a:p>
          <a:endParaRPr lang="it-IT"/>
        </a:p>
      </dgm:t>
    </dgm:pt>
    <dgm:pt modelId="{EF87B28E-AA40-44FE-8C4D-CC3AF2587BDA}">
      <dgm:prSet/>
      <dgm:spPr/>
      <dgm:t>
        <a:bodyPr/>
        <a:lstStyle/>
        <a:p>
          <a:pPr rtl="0"/>
          <a:endParaRPr lang="it-IT"/>
        </a:p>
      </dgm:t>
    </dgm:pt>
    <dgm:pt modelId="{4CA4FE80-D360-449E-9A65-B24EB0A3CBB9}" type="sibTrans" cxnId="{0462CF4D-C45D-4E52-9355-999B50F21A3B}">
      <dgm:prSet/>
      <dgm:spPr/>
      <dgm:t>
        <a:bodyPr/>
        <a:lstStyle/>
        <a:p>
          <a:endParaRPr lang="it-IT"/>
        </a:p>
      </dgm:t>
    </dgm:pt>
    <dgm:pt modelId="{66CF776F-4424-45DB-97DA-B8DDE815A4BE}" type="parTrans" cxnId="{0462CF4D-C45D-4E52-9355-999B50F21A3B}">
      <dgm:prSet/>
      <dgm:spPr/>
      <dgm:t>
        <a:bodyPr/>
        <a:lstStyle/>
        <a:p>
          <a:endParaRPr lang="it-IT"/>
        </a:p>
      </dgm:t>
    </dgm:pt>
    <dgm:pt modelId="{07AD62CC-9FE0-4896-B2F0-7DA6A2F829B7}" type="pres">
      <dgm:prSet presAssocID="{D9B9E09E-ADBF-4B02-A0E2-5FF74FAB0688}" presName="vert0" presStyleCnt="0">
        <dgm:presLayoutVars>
          <dgm:dir/>
          <dgm:animOne val="branch"/>
          <dgm:animLvl val="lvl"/>
        </dgm:presLayoutVars>
      </dgm:prSet>
      <dgm:spPr/>
      <dgm:t>
        <a:bodyPr/>
        <a:lstStyle/>
        <a:p>
          <a:endParaRPr lang="it-IT"/>
        </a:p>
      </dgm:t>
    </dgm:pt>
    <dgm:pt modelId="{DB4EEFDD-E54F-4207-BC18-4F04CD1FA012}" type="pres">
      <dgm:prSet presAssocID="{13D00DDE-6EF9-42B0-9E2A-8E9B0D81E505}" presName="thickLine" presStyleLbl="alignNode1" presStyleIdx="0" presStyleCnt="2"/>
      <dgm:spPr/>
    </dgm:pt>
    <dgm:pt modelId="{24B1C22D-481E-4B48-8F7A-7DB8B1CF41E8}" type="pres">
      <dgm:prSet presAssocID="{13D00DDE-6EF9-42B0-9E2A-8E9B0D81E505}" presName="horz1" presStyleCnt="0"/>
      <dgm:spPr/>
    </dgm:pt>
    <dgm:pt modelId="{2608172C-6B71-4C38-B713-A3C63C66FF45}" type="pres">
      <dgm:prSet presAssocID="{13D00DDE-6EF9-42B0-9E2A-8E9B0D81E505}" presName="tx1" presStyleLbl="revTx" presStyleIdx="0" presStyleCnt="2" custScaleX="100098" custScaleY="201179" custLinFactNeighborY="-15416"/>
      <dgm:spPr/>
      <dgm:t>
        <a:bodyPr/>
        <a:lstStyle/>
        <a:p>
          <a:endParaRPr lang="it-IT"/>
        </a:p>
      </dgm:t>
    </dgm:pt>
    <dgm:pt modelId="{00A3BCC3-BAB2-44AC-B78B-F014947D3FEA}" type="pres">
      <dgm:prSet presAssocID="{13D00DDE-6EF9-42B0-9E2A-8E9B0D81E505}" presName="vert1" presStyleCnt="0"/>
      <dgm:spPr/>
    </dgm:pt>
    <dgm:pt modelId="{404EE018-A5B0-4470-B596-11D4481052E8}" type="pres">
      <dgm:prSet presAssocID="{EF87B28E-AA40-44FE-8C4D-CC3AF2587BDA}" presName="thickLine" presStyleLbl="alignNode1" presStyleIdx="1" presStyleCnt="2"/>
      <dgm:spPr/>
    </dgm:pt>
    <dgm:pt modelId="{5387F8EE-6EC3-4EE3-89DC-CFA51722CFFF}" type="pres">
      <dgm:prSet presAssocID="{EF87B28E-AA40-44FE-8C4D-CC3AF2587BDA}" presName="horz1" presStyleCnt="0"/>
      <dgm:spPr/>
    </dgm:pt>
    <dgm:pt modelId="{28B2F38C-88C3-4EED-803D-19297A7D3D07}" type="pres">
      <dgm:prSet presAssocID="{EF87B28E-AA40-44FE-8C4D-CC3AF2587BDA}" presName="tx1" presStyleLbl="revTx" presStyleIdx="1" presStyleCnt="2" custFlipVert="0" custScaleY="5707" custLinFactNeighborY="-19582"/>
      <dgm:spPr/>
      <dgm:t>
        <a:bodyPr/>
        <a:lstStyle/>
        <a:p>
          <a:endParaRPr lang="it-IT"/>
        </a:p>
      </dgm:t>
    </dgm:pt>
    <dgm:pt modelId="{BB941D3D-2528-429B-8CCD-8C8EDFFEA3EA}" type="pres">
      <dgm:prSet presAssocID="{EF87B28E-AA40-44FE-8C4D-CC3AF2587BDA}" presName="vert1" presStyleCnt="0"/>
      <dgm:spPr/>
    </dgm:pt>
  </dgm:ptLst>
  <dgm:cxnLst>
    <dgm:cxn modelId="{0462CF4D-C45D-4E52-9355-999B50F21A3B}" srcId="{D9B9E09E-ADBF-4B02-A0E2-5FF74FAB0688}" destId="{EF87B28E-AA40-44FE-8C4D-CC3AF2587BDA}" srcOrd="1" destOrd="0" parTransId="{66CF776F-4424-45DB-97DA-B8DDE815A4BE}" sibTransId="{4CA4FE80-D360-449E-9A65-B24EB0A3CBB9}"/>
    <dgm:cxn modelId="{38B529C3-CB3B-45D2-8A62-6050A2907263}" type="presOf" srcId="{D9B9E09E-ADBF-4B02-A0E2-5FF74FAB0688}" destId="{07AD62CC-9FE0-4896-B2F0-7DA6A2F829B7}" srcOrd="0" destOrd="0" presId="urn:microsoft.com/office/officeart/2008/layout/LinedList"/>
    <dgm:cxn modelId="{3614F081-B38F-4C75-A73B-FE4058EAE7CD}" type="presOf" srcId="{EF87B28E-AA40-44FE-8C4D-CC3AF2587BDA}" destId="{28B2F38C-88C3-4EED-803D-19297A7D3D07}" srcOrd="0" destOrd="0" presId="urn:microsoft.com/office/officeart/2008/layout/LinedList"/>
    <dgm:cxn modelId="{1013E23F-A3F8-4AC3-947A-CD1A893A1BB6}" type="presOf" srcId="{13D00DDE-6EF9-42B0-9E2A-8E9B0D81E505}" destId="{2608172C-6B71-4C38-B713-A3C63C66FF45}" srcOrd="0" destOrd="0" presId="urn:microsoft.com/office/officeart/2008/layout/LinedList"/>
    <dgm:cxn modelId="{ACA36606-93C5-48BE-9079-7D97CEFF9E52}" srcId="{D9B9E09E-ADBF-4B02-A0E2-5FF74FAB0688}" destId="{13D00DDE-6EF9-42B0-9E2A-8E9B0D81E505}" srcOrd="0" destOrd="0" parTransId="{2D4F3ABD-27E4-421A-85C7-6621879576E1}" sibTransId="{37DB8B20-3CE7-46BE-9494-95D5EB3F8C05}"/>
    <dgm:cxn modelId="{582C137E-B75E-40EB-8068-96DFEDC3E63C}" type="presParOf" srcId="{07AD62CC-9FE0-4896-B2F0-7DA6A2F829B7}" destId="{DB4EEFDD-E54F-4207-BC18-4F04CD1FA012}" srcOrd="0" destOrd="0" presId="urn:microsoft.com/office/officeart/2008/layout/LinedList"/>
    <dgm:cxn modelId="{781F394E-7CEE-4E9E-9139-73436BC29C47}" type="presParOf" srcId="{07AD62CC-9FE0-4896-B2F0-7DA6A2F829B7}" destId="{24B1C22D-481E-4B48-8F7A-7DB8B1CF41E8}" srcOrd="1" destOrd="0" presId="urn:microsoft.com/office/officeart/2008/layout/LinedList"/>
    <dgm:cxn modelId="{9DBAF14C-4811-4B0F-B1DA-C8C494FF8D2C}" type="presParOf" srcId="{24B1C22D-481E-4B48-8F7A-7DB8B1CF41E8}" destId="{2608172C-6B71-4C38-B713-A3C63C66FF45}" srcOrd="0" destOrd="0" presId="urn:microsoft.com/office/officeart/2008/layout/LinedList"/>
    <dgm:cxn modelId="{9331C6E9-641A-49F5-A0F7-48EBB56EBBA9}" type="presParOf" srcId="{24B1C22D-481E-4B48-8F7A-7DB8B1CF41E8}" destId="{00A3BCC3-BAB2-44AC-B78B-F014947D3FEA}" srcOrd="1" destOrd="0" presId="urn:microsoft.com/office/officeart/2008/layout/LinedList"/>
    <dgm:cxn modelId="{B4BC8918-6904-47C3-8099-1F22EB41ED38}" type="presParOf" srcId="{07AD62CC-9FE0-4896-B2F0-7DA6A2F829B7}" destId="{404EE018-A5B0-4470-B596-11D4481052E8}" srcOrd="2" destOrd="0" presId="urn:microsoft.com/office/officeart/2008/layout/LinedList"/>
    <dgm:cxn modelId="{48548C75-CF98-482C-A585-4BCD203F65C4}" type="presParOf" srcId="{07AD62CC-9FE0-4896-B2F0-7DA6A2F829B7}" destId="{5387F8EE-6EC3-4EE3-89DC-CFA51722CFFF}" srcOrd="3" destOrd="0" presId="urn:microsoft.com/office/officeart/2008/layout/LinedList"/>
    <dgm:cxn modelId="{EECDFD17-7C3F-4FAA-9608-ACBC5DCF938D}" type="presParOf" srcId="{5387F8EE-6EC3-4EE3-89DC-CFA51722CFFF}" destId="{28B2F38C-88C3-4EED-803D-19297A7D3D07}" srcOrd="0" destOrd="0" presId="urn:microsoft.com/office/officeart/2008/layout/LinedList"/>
    <dgm:cxn modelId="{BCA2BC1F-26E4-4444-B504-8F980D13BC71}" type="presParOf" srcId="{5387F8EE-6EC3-4EE3-89DC-CFA51722CFFF}" destId="{BB941D3D-2528-429B-8CCD-8C8EDFFEA3EA}" srcOrd="1" destOrd="0" presId="urn:microsoft.com/office/officeart/2008/layout/LinedList"/>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73.xml><?xml version="1.0" encoding="utf-8"?>
<dgm:dataModel xmlns:dgm="http://schemas.openxmlformats.org/drawingml/2006/diagram" xmlns:a="http://schemas.openxmlformats.org/drawingml/2006/main">
  <dgm:ptLst>
    <dgm:pt modelId="{2D1113D4-3190-401F-8FA9-1516243653D5}" type="doc">
      <dgm:prSet loTypeId="urn:microsoft.com/office/officeart/2005/8/layout/vList2" loCatId="list" qsTypeId="urn:microsoft.com/office/officeart/2005/8/quickstyle/simple1" qsCatId="simple" csTypeId="urn:microsoft.com/office/officeart/2005/8/colors/accent6_1" csCatId="accent6" phldr="1"/>
      <dgm:spPr/>
      <dgm:t>
        <a:bodyPr/>
        <a:lstStyle/>
        <a:p>
          <a:endParaRPr lang="it-IT"/>
        </a:p>
      </dgm:t>
    </dgm:pt>
    <dgm:pt modelId="{84147231-6FDD-4407-8BDE-CF9231E5DEC3}">
      <dgm:prSet/>
      <dgm:spPr/>
      <dgm:t>
        <a:bodyPr/>
        <a:lstStyle/>
        <a:p>
          <a:pPr algn="just" rtl="0"/>
          <a:r>
            <a:rPr lang="it-IT" b="1" dirty="0" smtClean="0"/>
            <a:t>D’altra parte la Sicilia rappresenta solo la nona regione per fatturato e l’ottava per numero di unità locali riconducibili alla filiera del turismo in una posizione nettamente distanziata da dalle posizioni occupate da regioni come Lazio e Lombardia</a:t>
          </a:r>
          <a:r>
            <a:rPr lang="it-IT" dirty="0" smtClean="0"/>
            <a:t>.</a:t>
          </a:r>
          <a:endParaRPr lang="it-IT" dirty="0"/>
        </a:p>
      </dgm:t>
    </dgm:pt>
    <dgm:pt modelId="{7E2ED27D-3C1E-4846-B021-7FDBA633EA2A}" type="parTrans" cxnId="{062CDEE3-2A4A-498F-A928-112363A06769}">
      <dgm:prSet/>
      <dgm:spPr/>
      <dgm:t>
        <a:bodyPr/>
        <a:lstStyle/>
        <a:p>
          <a:endParaRPr lang="it-IT"/>
        </a:p>
      </dgm:t>
    </dgm:pt>
    <dgm:pt modelId="{C663D142-02B8-4FCB-9165-3E67DAC7A592}" type="sibTrans" cxnId="{062CDEE3-2A4A-498F-A928-112363A06769}">
      <dgm:prSet/>
      <dgm:spPr/>
      <dgm:t>
        <a:bodyPr/>
        <a:lstStyle/>
        <a:p>
          <a:endParaRPr lang="it-IT"/>
        </a:p>
      </dgm:t>
    </dgm:pt>
    <dgm:pt modelId="{5380F559-2F4C-40ED-88D9-7A9A0C52A254}" type="pres">
      <dgm:prSet presAssocID="{2D1113D4-3190-401F-8FA9-1516243653D5}" presName="linear" presStyleCnt="0">
        <dgm:presLayoutVars>
          <dgm:animLvl val="lvl"/>
          <dgm:resizeHandles val="exact"/>
        </dgm:presLayoutVars>
      </dgm:prSet>
      <dgm:spPr/>
      <dgm:t>
        <a:bodyPr/>
        <a:lstStyle/>
        <a:p>
          <a:endParaRPr lang="it-IT"/>
        </a:p>
      </dgm:t>
    </dgm:pt>
    <dgm:pt modelId="{8DB44658-E6E5-4958-8B6E-673298935A55}" type="pres">
      <dgm:prSet presAssocID="{84147231-6FDD-4407-8BDE-CF9231E5DEC3}" presName="parentText" presStyleLbl="node1" presStyleIdx="0" presStyleCnt="1">
        <dgm:presLayoutVars>
          <dgm:chMax val="0"/>
          <dgm:bulletEnabled val="1"/>
        </dgm:presLayoutVars>
      </dgm:prSet>
      <dgm:spPr/>
      <dgm:t>
        <a:bodyPr/>
        <a:lstStyle/>
        <a:p>
          <a:endParaRPr lang="it-IT"/>
        </a:p>
      </dgm:t>
    </dgm:pt>
  </dgm:ptLst>
  <dgm:cxnLst>
    <dgm:cxn modelId="{80A2DE3C-250C-4C03-943A-2FF3C9B58C7C}" type="presOf" srcId="{2D1113D4-3190-401F-8FA9-1516243653D5}" destId="{5380F559-2F4C-40ED-88D9-7A9A0C52A254}" srcOrd="0" destOrd="0" presId="urn:microsoft.com/office/officeart/2005/8/layout/vList2"/>
    <dgm:cxn modelId="{72F68488-66DE-4114-9209-27D35C34B6B9}" type="presOf" srcId="{84147231-6FDD-4407-8BDE-CF9231E5DEC3}" destId="{8DB44658-E6E5-4958-8B6E-673298935A55}" srcOrd="0" destOrd="0" presId="urn:microsoft.com/office/officeart/2005/8/layout/vList2"/>
    <dgm:cxn modelId="{062CDEE3-2A4A-498F-A928-112363A06769}" srcId="{2D1113D4-3190-401F-8FA9-1516243653D5}" destId="{84147231-6FDD-4407-8BDE-CF9231E5DEC3}" srcOrd="0" destOrd="0" parTransId="{7E2ED27D-3C1E-4846-B021-7FDBA633EA2A}" sibTransId="{C663D142-02B8-4FCB-9165-3E67DAC7A592}"/>
    <dgm:cxn modelId="{D9585DED-838E-4A98-8B8F-A0336C53FC5A}" type="presParOf" srcId="{5380F559-2F4C-40ED-88D9-7A9A0C52A254}" destId="{8DB44658-E6E5-4958-8B6E-673298935A55}"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4.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dgm:spPr/>
      <dgm:t>
        <a:bodyPr/>
        <a:lstStyle/>
        <a:p>
          <a:pPr rtl="0"/>
          <a:r>
            <a:rPr lang="it-IT" b="1" dirty="0" smtClean="0">
              <a:effectLst>
                <a:outerShdw blurRad="38100" dist="38100" dir="2700000" algn="tl">
                  <a:srgbClr val="000000">
                    <a:alpha val="43137"/>
                  </a:srgbClr>
                </a:outerShdw>
              </a:effectLst>
            </a:rPr>
            <a:t>1. Sistema produttivo</a:t>
          </a:r>
          <a:endParaRPr lang="it-IT"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AD59362D-EA2A-459B-B033-F3F1FD6ADD91}" type="presOf" srcId="{E4C7AF03-E2BD-4E48-8DAB-C1261D3D7EA9}" destId="{21D380AD-5D38-4835-9FB5-615E5454C686}" srcOrd="1" destOrd="0" presId="urn:microsoft.com/office/officeart/2005/8/layout/list1"/>
    <dgm:cxn modelId="{EB8A4F04-24FB-4705-A259-AD73E163392D}" type="presOf" srcId="{E4C7AF03-E2BD-4E48-8DAB-C1261D3D7EA9}" destId="{03DB856F-DE91-4CA0-AD05-B356DE21BFDC}" srcOrd="0" destOrd="0" presId="urn:microsoft.com/office/officeart/2005/8/layout/list1"/>
    <dgm:cxn modelId="{46A29DF3-8574-4F82-B567-0BC33F24DFA3}" type="presOf" srcId="{188FD03C-7D6A-4D29-8FCB-9C1383057E36}" destId="{C08F212E-D010-4B1B-884C-243E8BB88BD2}"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3F4E7713-B1A2-4D56-8130-F5E654792F82}" type="presParOf" srcId="{C08F212E-D010-4B1B-884C-243E8BB88BD2}" destId="{A042C0D5-6636-40E8-83EA-703099528EDB}" srcOrd="0" destOrd="0" presId="urn:microsoft.com/office/officeart/2005/8/layout/list1"/>
    <dgm:cxn modelId="{0CD1FF9F-0993-4A5F-803D-82910C2CE749}" type="presParOf" srcId="{A042C0D5-6636-40E8-83EA-703099528EDB}" destId="{03DB856F-DE91-4CA0-AD05-B356DE21BFDC}" srcOrd="0" destOrd="0" presId="urn:microsoft.com/office/officeart/2005/8/layout/list1"/>
    <dgm:cxn modelId="{221F3956-85BF-443E-9C29-00F4F7E2C573}" type="presParOf" srcId="{A042C0D5-6636-40E8-83EA-703099528EDB}" destId="{21D380AD-5D38-4835-9FB5-615E5454C686}" srcOrd="1" destOrd="0" presId="urn:microsoft.com/office/officeart/2005/8/layout/list1"/>
    <dgm:cxn modelId="{9A657E6A-A3FA-4F26-B386-B587B1006176}" type="presParOf" srcId="{C08F212E-D010-4B1B-884C-243E8BB88BD2}" destId="{E77B3B8A-36B6-4AF7-9D59-DF889FA8E07C}" srcOrd="1" destOrd="0" presId="urn:microsoft.com/office/officeart/2005/8/layout/list1"/>
    <dgm:cxn modelId="{E48381C4-1AD7-4D06-BCC0-E3CEC4F40EB3}"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5.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La posizione competitiva della Sicilia</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76B48411-C215-44E8-87B3-1F4DE8643EC7}" type="presOf" srcId="{72D59079-C521-4525-81A4-701D931A8233}" destId="{9CE9EFE3-4E69-404A-8A99-59388A9E3922}" srcOrd="0" destOrd="0" presId="urn:microsoft.com/office/officeart/2005/8/layout/chevronAccent+Icon"/>
    <dgm:cxn modelId="{8B706D95-433F-465A-80C3-7C2819F596F2}" type="presOf" srcId="{9AF403A6-2C5C-4F1B-B787-47496D3DBC71}" destId="{639FA514-32E4-4E31-8688-3C040A3F30E9}" srcOrd="0" destOrd="0" presId="urn:microsoft.com/office/officeart/2005/8/layout/chevronAccent+Icon"/>
    <dgm:cxn modelId="{7F6F7CFD-EC80-49B0-9701-D04630E738C2}" type="presParOf" srcId="{639FA514-32E4-4E31-8688-3C040A3F30E9}" destId="{F100BA9B-D4E3-421F-B5D8-42E4C50A115C}" srcOrd="0" destOrd="0" presId="urn:microsoft.com/office/officeart/2005/8/layout/chevronAccent+Icon"/>
    <dgm:cxn modelId="{6AA99C6A-E24F-4997-8848-E7372E439A40}" type="presParOf" srcId="{F100BA9B-D4E3-421F-B5D8-42E4C50A115C}" destId="{51AD98A5-0898-43D1-8FB1-9AA58104A73C}" srcOrd="0" destOrd="0" presId="urn:microsoft.com/office/officeart/2005/8/layout/chevronAccent+Icon"/>
    <dgm:cxn modelId="{C1CDEEAA-A308-47FE-8AF9-72D3E63895ED}"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76.xml><?xml version="1.0" encoding="utf-8"?>
<dgm:dataModel xmlns:dgm="http://schemas.openxmlformats.org/drawingml/2006/diagram" xmlns:a="http://schemas.openxmlformats.org/drawingml/2006/main">
  <dgm:ptLst>
    <dgm:pt modelId="{7F3256DC-A91D-4B31-9C5B-2CFEEC1CCED2}" type="doc">
      <dgm:prSet loTypeId="urn:microsoft.com/office/officeart/2005/8/layout/process4" loCatId="list" qsTypeId="urn:microsoft.com/office/officeart/2005/8/quickstyle/simple1" qsCatId="simple" csTypeId="urn:microsoft.com/office/officeart/2005/8/colors/accent6_1" csCatId="accent6" phldr="1"/>
      <dgm:spPr/>
      <dgm:t>
        <a:bodyPr/>
        <a:lstStyle/>
        <a:p>
          <a:endParaRPr lang="it-IT"/>
        </a:p>
      </dgm:t>
    </dgm:pt>
    <dgm:pt modelId="{C8F16073-C276-439A-ACD9-147EC6C284E2}">
      <dgm:prSet custT="1"/>
      <dgm:spPr/>
      <dgm:t>
        <a:bodyPr/>
        <a:lstStyle/>
        <a:p>
          <a:pPr algn="ctr"/>
          <a:r>
            <a:rPr lang="it-IT" sz="1600" dirty="0" smtClean="0"/>
            <a:t> </a:t>
          </a:r>
          <a:r>
            <a:rPr lang="it-IT" sz="1600" b="1" dirty="0" smtClean="0"/>
            <a:t>I vincoli allo sviluppo </a:t>
          </a:r>
          <a:endParaRPr lang="it-IT" sz="1600" b="1" dirty="0"/>
        </a:p>
      </dgm:t>
    </dgm:pt>
    <dgm:pt modelId="{808784CB-1010-44F0-A98D-127A4EEF81B4}" type="parTrans" cxnId="{D1335D08-878C-4E55-A228-338786DEC1CF}">
      <dgm:prSet/>
      <dgm:spPr/>
      <dgm:t>
        <a:bodyPr/>
        <a:lstStyle/>
        <a:p>
          <a:endParaRPr lang="it-IT"/>
        </a:p>
      </dgm:t>
    </dgm:pt>
    <dgm:pt modelId="{4E479A68-DA8B-4C5E-AFBB-E3F4273CA5B5}" type="sibTrans" cxnId="{D1335D08-878C-4E55-A228-338786DEC1CF}">
      <dgm:prSet/>
      <dgm:spPr/>
      <dgm:t>
        <a:bodyPr/>
        <a:lstStyle/>
        <a:p>
          <a:endParaRPr lang="it-IT"/>
        </a:p>
      </dgm:t>
    </dgm:pt>
    <dgm:pt modelId="{D35B36D8-340D-40DD-A69C-C3EB52E09957}" type="pres">
      <dgm:prSet presAssocID="{7F3256DC-A91D-4B31-9C5B-2CFEEC1CCED2}" presName="Name0" presStyleCnt="0">
        <dgm:presLayoutVars>
          <dgm:dir/>
          <dgm:animLvl val="lvl"/>
          <dgm:resizeHandles val="exact"/>
        </dgm:presLayoutVars>
      </dgm:prSet>
      <dgm:spPr/>
      <dgm:t>
        <a:bodyPr/>
        <a:lstStyle/>
        <a:p>
          <a:endParaRPr lang="it-IT"/>
        </a:p>
      </dgm:t>
    </dgm:pt>
    <dgm:pt modelId="{8B779753-26D9-4747-AEF8-ED4B15205702}" type="pres">
      <dgm:prSet presAssocID="{C8F16073-C276-439A-ACD9-147EC6C284E2}" presName="boxAndChildren" presStyleCnt="0"/>
      <dgm:spPr/>
    </dgm:pt>
    <dgm:pt modelId="{6EC256FC-9A38-4083-BFE1-F68DE52602FB}" type="pres">
      <dgm:prSet presAssocID="{C8F16073-C276-439A-ACD9-147EC6C284E2}" presName="parentTextBox" presStyleLbl="node1" presStyleIdx="0" presStyleCnt="1"/>
      <dgm:spPr/>
      <dgm:t>
        <a:bodyPr/>
        <a:lstStyle/>
        <a:p>
          <a:endParaRPr lang="it-IT"/>
        </a:p>
      </dgm:t>
    </dgm:pt>
  </dgm:ptLst>
  <dgm:cxnLst>
    <dgm:cxn modelId="{17ABE834-2521-4C09-AB52-AC1206387FC9}" type="presOf" srcId="{C8F16073-C276-439A-ACD9-147EC6C284E2}" destId="{6EC256FC-9A38-4083-BFE1-F68DE52602FB}" srcOrd="0" destOrd="0" presId="urn:microsoft.com/office/officeart/2005/8/layout/process4"/>
    <dgm:cxn modelId="{DB24F81B-CF91-4149-BDE8-A41F92C083CC}" type="presOf" srcId="{7F3256DC-A91D-4B31-9C5B-2CFEEC1CCED2}" destId="{D35B36D8-340D-40DD-A69C-C3EB52E09957}" srcOrd="0" destOrd="0" presId="urn:microsoft.com/office/officeart/2005/8/layout/process4"/>
    <dgm:cxn modelId="{D1335D08-878C-4E55-A228-338786DEC1CF}" srcId="{7F3256DC-A91D-4B31-9C5B-2CFEEC1CCED2}" destId="{C8F16073-C276-439A-ACD9-147EC6C284E2}" srcOrd="0" destOrd="0" parTransId="{808784CB-1010-44F0-A98D-127A4EEF81B4}" sibTransId="{4E479A68-DA8B-4C5E-AFBB-E3F4273CA5B5}"/>
    <dgm:cxn modelId="{BC8FEDEA-4D4B-4DD3-BE6C-64D859DC8716}" type="presParOf" srcId="{D35B36D8-340D-40DD-A69C-C3EB52E09957}" destId="{8B779753-26D9-4747-AEF8-ED4B15205702}" srcOrd="0" destOrd="0" presId="urn:microsoft.com/office/officeart/2005/8/layout/process4"/>
    <dgm:cxn modelId="{1C4BDE09-13C2-4675-BBF4-1CDA93B7FCB0}" type="presParOf" srcId="{8B779753-26D9-4747-AEF8-ED4B15205702}" destId="{6EC256FC-9A38-4083-BFE1-F68DE52602FB}" srcOrd="0" destOrd="0" presId="urn:microsoft.com/office/officeart/2005/8/layout/process4"/>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77.xml><?xml version="1.0" encoding="utf-8"?>
<dgm:dataModel xmlns:dgm="http://schemas.openxmlformats.org/drawingml/2006/diagram" xmlns:a="http://schemas.openxmlformats.org/drawingml/2006/main">
  <dgm:ptLst>
    <dgm:pt modelId="{003890A9-FBFC-4992-9D93-803985428C44}" type="doc">
      <dgm:prSet loTypeId="urn:microsoft.com/office/officeart/2008/layout/VerticalCurvedList" loCatId="list" qsTypeId="urn:microsoft.com/office/officeart/2005/8/quickstyle/simple1" qsCatId="simple" csTypeId="urn:microsoft.com/office/officeart/2005/8/colors/accent6_2" csCatId="accent6" phldr="1"/>
      <dgm:spPr/>
      <dgm:t>
        <a:bodyPr/>
        <a:lstStyle/>
        <a:p>
          <a:endParaRPr lang="it-IT"/>
        </a:p>
      </dgm:t>
    </dgm:pt>
    <dgm:pt modelId="{F76AE94E-93C8-422D-B68D-16768A59172C}">
      <dgm:prSet/>
      <dgm:spPr/>
      <dgm:t>
        <a:bodyPr/>
        <a:lstStyle/>
        <a:p>
          <a:pPr rtl="0"/>
          <a:r>
            <a:rPr lang="it-IT" dirty="0" smtClean="0"/>
            <a:t>Forti criticità strutturali continuano a condizionare la capacità espansiva e competitiva della filiera Turismo-Cultura in Italia e in Sicilia</a:t>
          </a:r>
          <a:endParaRPr lang="it-IT" dirty="0"/>
        </a:p>
      </dgm:t>
    </dgm:pt>
    <dgm:pt modelId="{220E4C88-9753-4A5C-B5CF-DCE516F067E8}" type="parTrans" cxnId="{31BFCE7F-4A80-40E8-921A-ED06EB807EA4}">
      <dgm:prSet/>
      <dgm:spPr/>
      <dgm:t>
        <a:bodyPr/>
        <a:lstStyle/>
        <a:p>
          <a:endParaRPr lang="it-IT"/>
        </a:p>
      </dgm:t>
    </dgm:pt>
    <dgm:pt modelId="{3FCDC9C3-FC0B-40BA-B014-A8E111E7D3FB}" type="sibTrans" cxnId="{31BFCE7F-4A80-40E8-921A-ED06EB807EA4}">
      <dgm:prSet/>
      <dgm:spPr/>
      <dgm:t>
        <a:bodyPr/>
        <a:lstStyle/>
        <a:p>
          <a:endParaRPr lang="it-IT"/>
        </a:p>
      </dgm:t>
    </dgm:pt>
    <dgm:pt modelId="{C89096C7-252D-47BD-98D1-D61D99BCC561}">
      <dgm:prSet/>
      <dgm:spPr/>
      <dgm:t>
        <a:bodyPr/>
        <a:lstStyle/>
        <a:p>
          <a:pPr rtl="0"/>
          <a:r>
            <a:rPr lang="it-IT" dirty="0" smtClean="0"/>
            <a:t>Nel quadriennio 2006-09 si registra un calo del 4,2% degli arrivi. Il peso specifico della regione sul totale del Mezzogiorno scende in cinque anni (2007-2012) dal 28,2% al 25,3%; quello sul totale nazionale dal 3,8% al 3,2 </a:t>
          </a:r>
          <a:endParaRPr lang="it-IT" dirty="0"/>
        </a:p>
      </dgm:t>
    </dgm:pt>
    <dgm:pt modelId="{23298F96-43BA-41FC-ACE4-0DD9A87D398E}" type="parTrans" cxnId="{55A13BE3-68B2-460D-AC35-499E84211329}">
      <dgm:prSet/>
      <dgm:spPr/>
      <dgm:t>
        <a:bodyPr/>
        <a:lstStyle/>
        <a:p>
          <a:endParaRPr lang="it-IT"/>
        </a:p>
      </dgm:t>
    </dgm:pt>
    <dgm:pt modelId="{0EAC9F30-7A06-4944-AF4C-D348868CA4FF}" type="sibTrans" cxnId="{55A13BE3-68B2-460D-AC35-499E84211329}">
      <dgm:prSet/>
      <dgm:spPr/>
      <dgm:t>
        <a:bodyPr/>
        <a:lstStyle/>
        <a:p>
          <a:endParaRPr lang="it-IT"/>
        </a:p>
      </dgm:t>
    </dgm:pt>
    <dgm:pt modelId="{6602B17F-9EFE-49BA-89D5-3C38C9D686B1}">
      <dgm:prSet/>
      <dgm:spPr/>
      <dgm:t>
        <a:bodyPr/>
        <a:lstStyle/>
        <a:p>
          <a:pPr rtl="0"/>
          <a:r>
            <a:rPr lang="it-IT" smtClean="0"/>
            <a:t>Nel 2012 la capacità turistica della Sicilia (PIL turistico pari al 3% del PIL regionale) continua ad essere inferiore sia rispetto al dato del Mezzogiorno (PIL turistico pari al 3,4%) ed ancor più rispetto a quello nazionale (PIL turistico di circa il 10%)</a:t>
          </a:r>
          <a:endParaRPr lang="it-IT" dirty="0"/>
        </a:p>
      </dgm:t>
    </dgm:pt>
    <dgm:pt modelId="{65502A02-9E0F-404B-88E5-807F45AD9341}" type="parTrans" cxnId="{B05A7A2A-5B3F-405D-A04C-7CD4DC12D752}">
      <dgm:prSet/>
      <dgm:spPr/>
      <dgm:t>
        <a:bodyPr/>
        <a:lstStyle/>
        <a:p>
          <a:endParaRPr lang="it-IT"/>
        </a:p>
      </dgm:t>
    </dgm:pt>
    <dgm:pt modelId="{C734E70F-931D-44BA-96D1-F89562AFAF55}" type="sibTrans" cxnId="{B05A7A2A-5B3F-405D-A04C-7CD4DC12D752}">
      <dgm:prSet/>
      <dgm:spPr/>
      <dgm:t>
        <a:bodyPr/>
        <a:lstStyle/>
        <a:p>
          <a:endParaRPr lang="it-IT"/>
        </a:p>
      </dgm:t>
    </dgm:pt>
    <dgm:pt modelId="{A00CCDF0-0003-488A-8D10-ACC8ACFB0BA2}" type="pres">
      <dgm:prSet presAssocID="{003890A9-FBFC-4992-9D93-803985428C44}" presName="Name0" presStyleCnt="0">
        <dgm:presLayoutVars>
          <dgm:chMax val="7"/>
          <dgm:chPref val="7"/>
          <dgm:dir/>
        </dgm:presLayoutVars>
      </dgm:prSet>
      <dgm:spPr/>
      <dgm:t>
        <a:bodyPr/>
        <a:lstStyle/>
        <a:p>
          <a:endParaRPr lang="it-IT"/>
        </a:p>
      </dgm:t>
    </dgm:pt>
    <dgm:pt modelId="{EB3FD37D-ABEC-40DF-AF58-9B7399B2B9CB}" type="pres">
      <dgm:prSet presAssocID="{003890A9-FBFC-4992-9D93-803985428C44}" presName="Name1" presStyleCnt="0"/>
      <dgm:spPr/>
    </dgm:pt>
    <dgm:pt modelId="{026D2AD3-9C60-4D80-AF53-564B7E7693B4}" type="pres">
      <dgm:prSet presAssocID="{003890A9-FBFC-4992-9D93-803985428C44}" presName="cycle" presStyleCnt="0"/>
      <dgm:spPr/>
    </dgm:pt>
    <dgm:pt modelId="{65012F32-FBD6-496E-B725-60544C4650C9}" type="pres">
      <dgm:prSet presAssocID="{003890A9-FBFC-4992-9D93-803985428C44}" presName="srcNode" presStyleLbl="node1" presStyleIdx="0" presStyleCnt="3"/>
      <dgm:spPr/>
    </dgm:pt>
    <dgm:pt modelId="{5B276996-E185-48E5-B074-1AC5BD80CCBA}" type="pres">
      <dgm:prSet presAssocID="{003890A9-FBFC-4992-9D93-803985428C44}" presName="conn" presStyleLbl="parChTrans1D2" presStyleIdx="0" presStyleCnt="1"/>
      <dgm:spPr/>
      <dgm:t>
        <a:bodyPr/>
        <a:lstStyle/>
        <a:p>
          <a:endParaRPr lang="it-IT"/>
        </a:p>
      </dgm:t>
    </dgm:pt>
    <dgm:pt modelId="{7754DD19-C457-4F20-A7AC-76C85B1FE11E}" type="pres">
      <dgm:prSet presAssocID="{003890A9-FBFC-4992-9D93-803985428C44}" presName="extraNode" presStyleLbl="node1" presStyleIdx="0" presStyleCnt="3"/>
      <dgm:spPr/>
    </dgm:pt>
    <dgm:pt modelId="{677060B3-9D26-429B-BCF8-9456B76D7DE2}" type="pres">
      <dgm:prSet presAssocID="{003890A9-FBFC-4992-9D93-803985428C44}" presName="dstNode" presStyleLbl="node1" presStyleIdx="0" presStyleCnt="3"/>
      <dgm:spPr/>
    </dgm:pt>
    <dgm:pt modelId="{FAA3C894-118B-4BCB-8E55-D582C2D27A1A}" type="pres">
      <dgm:prSet presAssocID="{F76AE94E-93C8-422D-B68D-16768A59172C}" presName="text_1" presStyleLbl="node1" presStyleIdx="0" presStyleCnt="3" custScaleY="83804">
        <dgm:presLayoutVars>
          <dgm:bulletEnabled val="1"/>
        </dgm:presLayoutVars>
      </dgm:prSet>
      <dgm:spPr/>
      <dgm:t>
        <a:bodyPr/>
        <a:lstStyle/>
        <a:p>
          <a:endParaRPr lang="it-IT"/>
        </a:p>
      </dgm:t>
    </dgm:pt>
    <dgm:pt modelId="{BADD7604-99C4-4683-A20F-AD44C0607E51}" type="pres">
      <dgm:prSet presAssocID="{F76AE94E-93C8-422D-B68D-16768A59172C}" presName="accent_1" presStyleCnt="0"/>
      <dgm:spPr/>
    </dgm:pt>
    <dgm:pt modelId="{500D7391-4E1F-46E2-AD3B-6450DC3913D8}" type="pres">
      <dgm:prSet presAssocID="{F76AE94E-93C8-422D-B68D-16768A59172C}" presName="accentRepeatNode" presStyleLbl="solidFgAcc1" presStyleIdx="0" presStyleCnt="3"/>
      <dgm:spPr/>
    </dgm:pt>
    <dgm:pt modelId="{5F228415-71D7-4E5A-B1D7-56F7F6878B21}" type="pres">
      <dgm:prSet presAssocID="{C89096C7-252D-47BD-98D1-D61D99BCC561}" presName="text_2" presStyleLbl="node1" presStyleIdx="1" presStyleCnt="3">
        <dgm:presLayoutVars>
          <dgm:bulletEnabled val="1"/>
        </dgm:presLayoutVars>
      </dgm:prSet>
      <dgm:spPr/>
      <dgm:t>
        <a:bodyPr/>
        <a:lstStyle/>
        <a:p>
          <a:endParaRPr lang="it-IT"/>
        </a:p>
      </dgm:t>
    </dgm:pt>
    <dgm:pt modelId="{ED152170-3620-4BEE-9E76-9533836FAEBD}" type="pres">
      <dgm:prSet presAssocID="{C89096C7-252D-47BD-98D1-D61D99BCC561}" presName="accent_2" presStyleCnt="0"/>
      <dgm:spPr/>
    </dgm:pt>
    <dgm:pt modelId="{E18EB709-0A28-42EE-A184-79E11098830A}" type="pres">
      <dgm:prSet presAssocID="{C89096C7-252D-47BD-98D1-D61D99BCC561}" presName="accentRepeatNode" presStyleLbl="solidFgAcc1" presStyleIdx="1" presStyleCnt="3"/>
      <dgm:spPr/>
    </dgm:pt>
    <dgm:pt modelId="{BC613144-D217-449C-89E2-87315C5FF636}" type="pres">
      <dgm:prSet presAssocID="{6602B17F-9EFE-49BA-89D5-3C38C9D686B1}" presName="text_3" presStyleLbl="node1" presStyleIdx="2" presStyleCnt="3">
        <dgm:presLayoutVars>
          <dgm:bulletEnabled val="1"/>
        </dgm:presLayoutVars>
      </dgm:prSet>
      <dgm:spPr/>
      <dgm:t>
        <a:bodyPr/>
        <a:lstStyle/>
        <a:p>
          <a:endParaRPr lang="it-IT"/>
        </a:p>
      </dgm:t>
    </dgm:pt>
    <dgm:pt modelId="{22B8B8FD-73C2-4708-B663-546958200237}" type="pres">
      <dgm:prSet presAssocID="{6602B17F-9EFE-49BA-89D5-3C38C9D686B1}" presName="accent_3" presStyleCnt="0"/>
      <dgm:spPr/>
    </dgm:pt>
    <dgm:pt modelId="{C2ED7373-48BA-4A10-B15A-FA4AEA8288DD}" type="pres">
      <dgm:prSet presAssocID="{6602B17F-9EFE-49BA-89D5-3C38C9D686B1}" presName="accentRepeatNode" presStyleLbl="solidFgAcc1" presStyleIdx="2" presStyleCnt="3"/>
      <dgm:spPr/>
    </dgm:pt>
  </dgm:ptLst>
  <dgm:cxnLst>
    <dgm:cxn modelId="{31BFCE7F-4A80-40E8-921A-ED06EB807EA4}" srcId="{003890A9-FBFC-4992-9D93-803985428C44}" destId="{F76AE94E-93C8-422D-B68D-16768A59172C}" srcOrd="0" destOrd="0" parTransId="{220E4C88-9753-4A5C-B5CF-DCE516F067E8}" sibTransId="{3FCDC9C3-FC0B-40BA-B014-A8E111E7D3FB}"/>
    <dgm:cxn modelId="{9FA24F73-6FD8-496B-8C8E-5C0F34CD36B0}" type="presOf" srcId="{3FCDC9C3-FC0B-40BA-B014-A8E111E7D3FB}" destId="{5B276996-E185-48E5-B074-1AC5BD80CCBA}" srcOrd="0" destOrd="0" presId="urn:microsoft.com/office/officeart/2008/layout/VerticalCurvedList"/>
    <dgm:cxn modelId="{D29ED5FD-ACDF-42AC-9E8B-104477E914DF}" type="presOf" srcId="{003890A9-FBFC-4992-9D93-803985428C44}" destId="{A00CCDF0-0003-488A-8D10-ACC8ACFB0BA2}" srcOrd="0" destOrd="0" presId="urn:microsoft.com/office/officeart/2008/layout/VerticalCurvedList"/>
    <dgm:cxn modelId="{9E9EB5CC-B6DD-4328-BF85-1D0B616D90F4}" type="presOf" srcId="{C89096C7-252D-47BD-98D1-D61D99BCC561}" destId="{5F228415-71D7-4E5A-B1D7-56F7F6878B21}" srcOrd="0" destOrd="0" presId="urn:microsoft.com/office/officeart/2008/layout/VerticalCurvedList"/>
    <dgm:cxn modelId="{CF7D3EE8-6D0B-4A0C-BA74-A1DF09FF7472}" type="presOf" srcId="{6602B17F-9EFE-49BA-89D5-3C38C9D686B1}" destId="{BC613144-D217-449C-89E2-87315C5FF636}" srcOrd="0" destOrd="0" presId="urn:microsoft.com/office/officeart/2008/layout/VerticalCurvedList"/>
    <dgm:cxn modelId="{55A13BE3-68B2-460D-AC35-499E84211329}" srcId="{003890A9-FBFC-4992-9D93-803985428C44}" destId="{C89096C7-252D-47BD-98D1-D61D99BCC561}" srcOrd="1" destOrd="0" parTransId="{23298F96-43BA-41FC-ACE4-0DD9A87D398E}" sibTransId="{0EAC9F30-7A06-4944-AF4C-D348868CA4FF}"/>
    <dgm:cxn modelId="{53BF4748-8FA4-4978-AF48-CA958B3F42C0}" type="presOf" srcId="{F76AE94E-93C8-422D-B68D-16768A59172C}" destId="{FAA3C894-118B-4BCB-8E55-D582C2D27A1A}" srcOrd="0" destOrd="0" presId="urn:microsoft.com/office/officeart/2008/layout/VerticalCurvedList"/>
    <dgm:cxn modelId="{B05A7A2A-5B3F-405D-A04C-7CD4DC12D752}" srcId="{003890A9-FBFC-4992-9D93-803985428C44}" destId="{6602B17F-9EFE-49BA-89D5-3C38C9D686B1}" srcOrd="2" destOrd="0" parTransId="{65502A02-9E0F-404B-88E5-807F45AD9341}" sibTransId="{C734E70F-931D-44BA-96D1-F89562AFAF55}"/>
    <dgm:cxn modelId="{8590A900-8E8B-4497-AB94-3D9C4684302E}" type="presParOf" srcId="{A00CCDF0-0003-488A-8D10-ACC8ACFB0BA2}" destId="{EB3FD37D-ABEC-40DF-AF58-9B7399B2B9CB}" srcOrd="0" destOrd="0" presId="urn:microsoft.com/office/officeart/2008/layout/VerticalCurvedList"/>
    <dgm:cxn modelId="{CE3F0E60-5781-46F2-8E20-7AA2BE903181}" type="presParOf" srcId="{EB3FD37D-ABEC-40DF-AF58-9B7399B2B9CB}" destId="{026D2AD3-9C60-4D80-AF53-564B7E7693B4}" srcOrd="0" destOrd="0" presId="urn:microsoft.com/office/officeart/2008/layout/VerticalCurvedList"/>
    <dgm:cxn modelId="{A667ED74-D493-4916-98B3-DBB7343D71DA}" type="presParOf" srcId="{026D2AD3-9C60-4D80-AF53-564B7E7693B4}" destId="{65012F32-FBD6-496E-B725-60544C4650C9}" srcOrd="0" destOrd="0" presId="urn:microsoft.com/office/officeart/2008/layout/VerticalCurvedList"/>
    <dgm:cxn modelId="{3B1CCD27-94B7-4DE8-8EF8-6E6CD624B53E}" type="presParOf" srcId="{026D2AD3-9C60-4D80-AF53-564B7E7693B4}" destId="{5B276996-E185-48E5-B074-1AC5BD80CCBA}" srcOrd="1" destOrd="0" presId="urn:microsoft.com/office/officeart/2008/layout/VerticalCurvedList"/>
    <dgm:cxn modelId="{65B8F7C3-9DB1-4A6F-8477-DA478F086B9D}" type="presParOf" srcId="{026D2AD3-9C60-4D80-AF53-564B7E7693B4}" destId="{7754DD19-C457-4F20-A7AC-76C85B1FE11E}" srcOrd="2" destOrd="0" presId="urn:microsoft.com/office/officeart/2008/layout/VerticalCurvedList"/>
    <dgm:cxn modelId="{D492E128-8767-44AD-A275-D4B1D33E5037}" type="presParOf" srcId="{026D2AD3-9C60-4D80-AF53-564B7E7693B4}" destId="{677060B3-9D26-429B-BCF8-9456B76D7DE2}" srcOrd="3" destOrd="0" presId="urn:microsoft.com/office/officeart/2008/layout/VerticalCurvedList"/>
    <dgm:cxn modelId="{83EAC4C8-E999-404F-B70E-EF8E0EA9E36E}" type="presParOf" srcId="{EB3FD37D-ABEC-40DF-AF58-9B7399B2B9CB}" destId="{FAA3C894-118B-4BCB-8E55-D582C2D27A1A}" srcOrd="1" destOrd="0" presId="urn:microsoft.com/office/officeart/2008/layout/VerticalCurvedList"/>
    <dgm:cxn modelId="{1691F264-A1C3-43F9-B913-6F08E5B9266F}" type="presParOf" srcId="{EB3FD37D-ABEC-40DF-AF58-9B7399B2B9CB}" destId="{BADD7604-99C4-4683-A20F-AD44C0607E51}" srcOrd="2" destOrd="0" presId="urn:microsoft.com/office/officeart/2008/layout/VerticalCurvedList"/>
    <dgm:cxn modelId="{C65F53BB-16CB-4821-A4C6-662395869ADC}" type="presParOf" srcId="{BADD7604-99C4-4683-A20F-AD44C0607E51}" destId="{500D7391-4E1F-46E2-AD3B-6450DC3913D8}" srcOrd="0" destOrd="0" presId="urn:microsoft.com/office/officeart/2008/layout/VerticalCurvedList"/>
    <dgm:cxn modelId="{B7DA9992-109B-4323-8DE4-07673ECA331C}" type="presParOf" srcId="{EB3FD37D-ABEC-40DF-AF58-9B7399B2B9CB}" destId="{5F228415-71D7-4E5A-B1D7-56F7F6878B21}" srcOrd="3" destOrd="0" presId="urn:microsoft.com/office/officeart/2008/layout/VerticalCurvedList"/>
    <dgm:cxn modelId="{F8EFE3DA-884E-42B8-AA36-8DB0F6A67337}" type="presParOf" srcId="{EB3FD37D-ABEC-40DF-AF58-9B7399B2B9CB}" destId="{ED152170-3620-4BEE-9E76-9533836FAEBD}" srcOrd="4" destOrd="0" presId="urn:microsoft.com/office/officeart/2008/layout/VerticalCurvedList"/>
    <dgm:cxn modelId="{BA571FBF-4094-49D6-873B-470E38170270}" type="presParOf" srcId="{ED152170-3620-4BEE-9E76-9533836FAEBD}" destId="{E18EB709-0A28-42EE-A184-79E11098830A}" srcOrd="0" destOrd="0" presId="urn:microsoft.com/office/officeart/2008/layout/VerticalCurvedList"/>
    <dgm:cxn modelId="{13B7928E-4DE3-4F1A-BB5F-E5F04667EF13}" type="presParOf" srcId="{EB3FD37D-ABEC-40DF-AF58-9B7399B2B9CB}" destId="{BC613144-D217-449C-89E2-87315C5FF636}" srcOrd="5" destOrd="0" presId="urn:microsoft.com/office/officeart/2008/layout/VerticalCurvedList"/>
    <dgm:cxn modelId="{7FC739C7-D35B-4489-AAD7-6DBA52D84804}" type="presParOf" srcId="{EB3FD37D-ABEC-40DF-AF58-9B7399B2B9CB}" destId="{22B8B8FD-73C2-4708-B663-546958200237}" srcOrd="6" destOrd="0" presId="urn:microsoft.com/office/officeart/2008/layout/VerticalCurvedList"/>
    <dgm:cxn modelId="{06C13C17-4CD3-4AF4-8479-74CAEE2783D7}" type="presParOf" srcId="{22B8B8FD-73C2-4708-B663-546958200237}" destId="{C2ED7373-48BA-4A10-B15A-FA4AEA8288DD}" srcOrd="0" destOrd="0" presId="urn:microsoft.com/office/officeart/2008/layout/VerticalCurvedList"/>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78.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La posizione competitiva della Sicilia</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B1A0AFB6-BBCD-46F0-AD6D-1D74A443FF0F}" type="presOf" srcId="{9AF403A6-2C5C-4F1B-B787-47496D3DBC71}" destId="{639FA514-32E4-4E31-8688-3C040A3F30E9}" srcOrd="0" destOrd="0" presId="urn:microsoft.com/office/officeart/2005/8/layout/chevronAccent+Icon"/>
    <dgm:cxn modelId="{ACB73152-6F49-454F-B1AA-1756E5E30835}" type="presOf" srcId="{72D59079-C521-4525-81A4-701D931A8233}" destId="{9CE9EFE3-4E69-404A-8A99-59388A9E3922}" srcOrd="0" destOrd="0" presId="urn:microsoft.com/office/officeart/2005/8/layout/chevronAccent+Icon"/>
    <dgm:cxn modelId="{8ACB291C-7E77-49BC-AC71-09C9EB18E28C}" type="presParOf" srcId="{639FA514-32E4-4E31-8688-3C040A3F30E9}" destId="{F100BA9B-D4E3-421F-B5D8-42E4C50A115C}" srcOrd="0" destOrd="0" presId="urn:microsoft.com/office/officeart/2005/8/layout/chevronAccent+Icon"/>
    <dgm:cxn modelId="{5A1349AA-77C6-43D8-86A5-EA2AF9363193}" type="presParOf" srcId="{F100BA9B-D4E3-421F-B5D8-42E4C50A115C}" destId="{51AD98A5-0898-43D1-8FB1-9AA58104A73C}" srcOrd="0" destOrd="0" presId="urn:microsoft.com/office/officeart/2005/8/layout/chevronAccent+Icon"/>
    <dgm:cxn modelId="{DD09951B-81FD-4AAB-8941-2F461ED934CA}"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9.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dgm:spPr/>
      <dgm:t>
        <a:bodyPr/>
        <a:lstStyle/>
        <a:p>
          <a:pPr rtl="0"/>
          <a:r>
            <a:rPr lang="it-IT" b="1" dirty="0" smtClean="0">
              <a:effectLst>
                <a:outerShdw blurRad="38100" dist="38100" dir="2700000" algn="tl">
                  <a:srgbClr val="000000">
                    <a:alpha val="43137"/>
                  </a:srgbClr>
                </a:outerShdw>
              </a:effectLst>
            </a:rPr>
            <a:t>1. Sistema produttivo</a:t>
          </a:r>
          <a:endParaRPr lang="it-IT"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85620246-D270-4548-8EDE-4BB1336E6263}" type="presOf" srcId="{E4C7AF03-E2BD-4E48-8DAB-C1261D3D7EA9}" destId="{21D380AD-5D38-4835-9FB5-615E5454C686}" srcOrd="1" destOrd="0" presId="urn:microsoft.com/office/officeart/2005/8/layout/list1"/>
    <dgm:cxn modelId="{6CC3C38A-0EA9-4D1A-876A-6DC312121922}" type="presOf" srcId="{E4C7AF03-E2BD-4E48-8DAB-C1261D3D7EA9}" destId="{03DB856F-DE91-4CA0-AD05-B356DE21BFDC}"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2D5FFFA5-24B7-403D-9327-2A4157C95DC9}" type="presOf" srcId="{188FD03C-7D6A-4D29-8FCB-9C1383057E36}" destId="{C08F212E-D010-4B1B-884C-243E8BB88BD2}" srcOrd="0" destOrd="0" presId="urn:microsoft.com/office/officeart/2005/8/layout/list1"/>
    <dgm:cxn modelId="{6BDAC93B-4A54-4C3E-9275-EE04F283BE6A}" type="presParOf" srcId="{C08F212E-D010-4B1B-884C-243E8BB88BD2}" destId="{A042C0D5-6636-40E8-83EA-703099528EDB}" srcOrd="0" destOrd="0" presId="urn:microsoft.com/office/officeart/2005/8/layout/list1"/>
    <dgm:cxn modelId="{41015908-D6D3-4C82-AEDD-69A2399B773B}" type="presParOf" srcId="{A042C0D5-6636-40E8-83EA-703099528EDB}" destId="{03DB856F-DE91-4CA0-AD05-B356DE21BFDC}" srcOrd="0" destOrd="0" presId="urn:microsoft.com/office/officeart/2005/8/layout/list1"/>
    <dgm:cxn modelId="{94C8BA3C-ABB5-44FC-8864-08A55F4F2AF4}" type="presParOf" srcId="{A042C0D5-6636-40E8-83EA-703099528EDB}" destId="{21D380AD-5D38-4835-9FB5-615E5454C686}" srcOrd="1" destOrd="0" presId="urn:microsoft.com/office/officeart/2005/8/layout/list1"/>
    <dgm:cxn modelId="{C012DE8C-8818-4EFC-998F-F22D84253418}" type="presParOf" srcId="{C08F212E-D010-4B1B-884C-243E8BB88BD2}" destId="{E77B3B8A-36B6-4AF7-9D59-DF889FA8E07C}" srcOrd="1" destOrd="0" presId="urn:microsoft.com/office/officeart/2005/8/layout/list1"/>
    <dgm:cxn modelId="{16A61434-688C-4CCE-A73F-D5BFAC2DC4F8}"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3075584-0A09-4F92-A3EE-4594CC46FEDC}" type="doc">
      <dgm:prSet loTypeId="urn:microsoft.com/office/officeart/2008/layout/LinedList" loCatId="list" qsTypeId="urn:microsoft.com/office/officeart/2005/8/quickstyle/simple1#6" qsCatId="simple" csTypeId="urn:microsoft.com/office/officeart/2005/8/colors/accent2_5" csCatId="accent2" phldr="1"/>
      <dgm:spPr/>
      <dgm:t>
        <a:bodyPr/>
        <a:lstStyle/>
        <a:p>
          <a:endParaRPr lang="it-IT"/>
        </a:p>
      </dgm:t>
    </dgm:pt>
    <dgm:pt modelId="{4DBD1FB0-9DEC-4BF1-BDFE-C56F2660AE47}">
      <dgm:prSet custT="1"/>
      <dgm:spPr/>
      <dgm:t>
        <a:bodyPr/>
        <a:lstStyle/>
        <a:p>
          <a:pPr algn="just" rtl="0"/>
          <a:endParaRPr lang="it-IT" sz="1800" b="1" i="0" dirty="0">
            <a:solidFill>
              <a:srgbClr val="C00000"/>
            </a:solidFill>
          </a:endParaRPr>
        </a:p>
      </dgm:t>
    </dgm:pt>
    <dgm:pt modelId="{977500EF-1C8F-4ABA-A49C-70BA86BBB338}" type="parTrans" cxnId="{96C8A48C-C5AF-46B5-9B5D-144C81DD0D8F}">
      <dgm:prSet/>
      <dgm:spPr/>
      <dgm:t>
        <a:bodyPr/>
        <a:lstStyle/>
        <a:p>
          <a:pPr algn="l"/>
          <a:endParaRPr lang="it-IT"/>
        </a:p>
      </dgm:t>
    </dgm:pt>
    <dgm:pt modelId="{95AA54F3-60A7-4C69-9BA0-A132406858AF}" type="sibTrans" cxnId="{96C8A48C-C5AF-46B5-9B5D-144C81DD0D8F}">
      <dgm:prSet/>
      <dgm:spPr/>
      <dgm:t>
        <a:bodyPr/>
        <a:lstStyle/>
        <a:p>
          <a:pPr algn="l"/>
          <a:endParaRPr lang="it-IT"/>
        </a:p>
      </dgm:t>
    </dgm:pt>
    <dgm:pt modelId="{D7EA6325-6413-4438-83E4-6701E2C57717}" type="pres">
      <dgm:prSet presAssocID="{43075584-0A09-4F92-A3EE-4594CC46FEDC}" presName="vert0" presStyleCnt="0">
        <dgm:presLayoutVars>
          <dgm:dir/>
          <dgm:animOne val="branch"/>
          <dgm:animLvl val="lvl"/>
        </dgm:presLayoutVars>
      </dgm:prSet>
      <dgm:spPr/>
      <dgm:t>
        <a:bodyPr/>
        <a:lstStyle/>
        <a:p>
          <a:endParaRPr lang="it-IT"/>
        </a:p>
      </dgm:t>
    </dgm:pt>
    <dgm:pt modelId="{C53CC59A-ED65-4B0D-9470-3F18E593A142}" type="pres">
      <dgm:prSet presAssocID="{4DBD1FB0-9DEC-4BF1-BDFE-C56F2660AE47}" presName="thickLine" presStyleLbl="alignNode1" presStyleIdx="0" presStyleCnt="1"/>
      <dgm:spPr/>
    </dgm:pt>
    <dgm:pt modelId="{CCBE2F35-B449-4304-A4B7-EB4A0CE90FAA}" type="pres">
      <dgm:prSet presAssocID="{4DBD1FB0-9DEC-4BF1-BDFE-C56F2660AE47}" presName="horz1" presStyleCnt="0"/>
      <dgm:spPr/>
    </dgm:pt>
    <dgm:pt modelId="{2E4F97BB-80AE-4B89-8B32-FB05A53BD028}" type="pres">
      <dgm:prSet presAssocID="{4DBD1FB0-9DEC-4BF1-BDFE-C56F2660AE47}" presName="tx1" presStyleLbl="revTx" presStyleIdx="0" presStyleCnt="1" custLinFactNeighborY="-36433"/>
      <dgm:spPr/>
      <dgm:t>
        <a:bodyPr/>
        <a:lstStyle/>
        <a:p>
          <a:endParaRPr lang="it-IT"/>
        </a:p>
      </dgm:t>
    </dgm:pt>
    <dgm:pt modelId="{D1497074-FD56-4A1D-B803-63AFF8396209}" type="pres">
      <dgm:prSet presAssocID="{4DBD1FB0-9DEC-4BF1-BDFE-C56F2660AE47}" presName="vert1" presStyleCnt="0"/>
      <dgm:spPr/>
    </dgm:pt>
  </dgm:ptLst>
  <dgm:cxnLst>
    <dgm:cxn modelId="{96C8A48C-C5AF-46B5-9B5D-144C81DD0D8F}" srcId="{43075584-0A09-4F92-A3EE-4594CC46FEDC}" destId="{4DBD1FB0-9DEC-4BF1-BDFE-C56F2660AE47}" srcOrd="0" destOrd="0" parTransId="{977500EF-1C8F-4ABA-A49C-70BA86BBB338}" sibTransId="{95AA54F3-60A7-4C69-9BA0-A132406858AF}"/>
    <dgm:cxn modelId="{F4DBE731-B2F2-4975-929F-488A1FED9F36}" type="presOf" srcId="{4DBD1FB0-9DEC-4BF1-BDFE-C56F2660AE47}" destId="{2E4F97BB-80AE-4B89-8B32-FB05A53BD028}" srcOrd="0" destOrd="0" presId="urn:microsoft.com/office/officeart/2008/layout/LinedList"/>
    <dgm:cxn modelId="{903C0A25-712E-44E4-88E3-38983855899B}" type="presOf" srcId="{43075584-0A09-4F92-A3EE-4594CC46FEDC}" destId="{D7EA6325-6413-4438-83E4-6701E2C57717}" srcOrd="0" destOrd="0" presId="urn:microsoft.com/office/officeart/2008/layout/LinedList"/>
    <dgm:cxn modelId="{A02B8E6B-4D3B-45C1-B9CA-903D47705DC4}" type="presParOf" srcId="{D7EA6325-6413-4438-83E4-6701E2C57717}" destId="{C53CC59A-ED65-4B0D-9470-3F18E593A142}" srcOrd="0" destOrd="0" presId="urn:microsoft.com/office/officeart/2008/layout/LinedList"/>
    <dgm:cxn modelId="{E29E8D41-CFEA-478C-925D-E36FB610530C}" type="presParOf" srcId="{D7EA6325-6413-4438-83E4-6701E2C57717}" destId="{CCBE2F35-B449-4304-A4B7-EB4A0CE90FAA}" srcOrd="1" destOrd="0" presId="urn:microsoft.com/office/officeart/2008/layout/LinedList"/>
    <dgm:cxn modelId="{6707A842-DA6D-4155-BA76-D9F666480CD8}" type="presParOf" srcId="{CCBE2F35-B449-4304-A4B7-EB4A0CE90FAA}" destId="{2E4F97BB-80AE-4B89-8B32-FB05A53BD028}" srcOrd="0" destOrd="0" presId="urn:microsoft.com/office/officeart/2008/layout/LinedList"/>
    <dgm:cxn modelId="{296BA695-1B79-4847-BB73-092F5956FE10}" type="presParOf" srcId="{CCBE2F35-B449-4304-A4B7-EB4A0CE90FAA}" destId="{D1497074-FD56-4A1D-B803-63AFF8396209}" srcOrd="1" destOrd="0" presId="urn:microsoft.com/office/officeart/2008/layout/Lin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0.xml><?xml version="1.0" encoding="utf-8"?>
<dgm:dataModel xmlns:dgm="http://schemas.openxmlformats.org/drawingml/2006/diagram" xmlns:a="http://schemas.openxmlformats.org/drawingml/2006/main">
  <dgm:ptLst>
    <dgm:pt modelId="{8E56971A-A46B-48DB-BF64-101913E87D2E}"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it-IT"/>
        </a:p>
      </dgm:t>
    </dgm:pt>
    <dgm:pt modelId="{2AFDC551-11B8-49E7-9B4A-3644A80859F3}" type="pres">
      <dgm:prSet presAssocID="{8E56971A-A46B-48DB-BF64-101913E87D2E}" presName="linear" presStyleCnt="0">
        <dgm:presLayoutVars>
          <dgm:animLvl val="lvl"/>
          <dgm:resizeHandles val="exact"/>
        </dgm:presLayoutVars>
      </dgm:prSet>
      <dgm:spPr/>
      <dgm:t>
        <a:bodyPr/>
        <a:lstStyle/>
        <a:p>
          <a:endParaRPr lang="it-IT"/>
        </a:p>
      </dgm:t>
    </dgm:pt>
  </dgm:ptLst>
  <dgm:cxnLst>
    <dgm:cxn modelId="{2BAD3AF1-3673-4494-BBB7-DC53FC5A5421}" type="presOf" srcId="{8E56971A-A46B-48DB-BF64-101913E87D2E}" destId="{2AFDC551-11B8-49E7-9B4A-3644A80859F3}"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1.xml><?xml version="1.0" encoding="utf-8"?>
<dgm:dataModel xmlns:dgm="http://schemas.openxmlformats.org/drawingml/2006/diagram" xmlns:a="http://schemas.openxmlformats.org/drawingml/2006/main">
  <dgm:ptLst>
    <dgm:pt modelId="{B29D2BF4-B0E9-4C60-8984-6DC3C2949F77}" type="doc">
      <dgm:prSet loTypeId="urn:microsoft.com/office/officeart/2008/layout/LinedList" loCatId="list" qsTypeId="urn:microsoft.com/office/officeart/2005/8/quickstyle/simple1" qsCatId="simple" csTypeId="urn:microsoft.com/office/officeart/2005/8/colors/accent6_2" csCatId="accent6" phldr="1"/>
      <dgm:spPr/>
      <dgm:t>
        <a:bodyPr/>
        <a:lstStyle/>
        <a:p>
          <a:endParaRPr lang="it-IT"/>
        </a:p>
      </dgm:t>
    </dgm:pt>
    <dgm:pt modelId="{D1C556C3-B8F2-4FAF-AE0E-A4924D4EA6B5}">
      <dgm:prSet custT="1"/>
      <dgm:spPr/>
      <dgm:t>
        <a:bodyPr/>
        <a:lstStyle/>
        <a:p>
          <a:pPr rtl="0"/>
          <a:r>
            <a:rPr lang="it-IT" sz="1400" b="1" dirty="0" smtClean="0"/>
            <a:t>scarsa capacità recettiva rispetto agli abitanti</a:t>
          </a:r>
          <a:endParaRPr lang="it-IT" sz="1400" b="1" dirty="0"/>
        </a:p>
      </dgm:t>
    </dgm:pt>
    <dgm:pt modelId="{17F45286-EE6D-4595-835E-DE9B6F5C112A}" type="parTrans" cxnId="{8794D976-0173-4ADF-AD8C-EA69130E92A3}">
      <dgm:prSet/>
      <dgm:spPr/>
      <dgm:t>
        <a:bodyPr/>
        <a:lstStyle/>
        <a:p>
          <a:endParaRPr lang="it-IT"/>
        </a:p>
      </dgm:t>
    </dgm:pt>
    <dgm:pt modelId="{161F17BE-778F-479C-88B1-6070E20EC955}" type="sibTrans" cxnId="{8794D976-0173-4ADF-AD8C-EA69130E92A3}">
      <dgm:prSet/>
      <dgm:spPr/>
      <dgm:t>
        <a:bodyPr/>
        <a:lstStyle/>
        <a:p>
          <a:endParaRPr lang="it-IT"/>
        </a:p>
      </dgm:t>
    </dgm:pt>
    <dgm:pt modelId="{30C928CA-FA79-430E-8BFB-A35117119743}">
      <dgm:prSet custT="1"/>
      <dgm:spPr/>
      <dgm:t>
        <a:bodyPr/>
        <a:lstStyle/>
        <a:p>
          <a:pPr rtl="0"/>
          <a:r>
            <a:rPr lang="it-IT" sz="1400" b="1" dirty="0" smtClean="0"/>
            <a:t>frammentazione dell'offerta </a:t>
          </a:r>
          <a:endParaRPr lang="it-IT" sz="1400" b="1" dirty="0"/>
        </a:p>
      </dgm:t>
    </dgm:pt>
    <dgm:pt modelId="{222AB6EA-EED0-4898-8608-66EF32AAF1FD}" type="parTrans" cxnId="{FFF7F396-DEC7-43BC-AD13-3B21FAAFFAA0}">
      <dgm:prSet/>
      <dgm:spPr/>
      <dgm:t>
        <a:bodyPr/>
        <a:lstStyle/>
        <a:p>
          <a:endParaRPr lang="it-IT"/>
        </a:p>
      </dgm:t>
    </dgm:pt>
    <dgm:pt modelId="{91980C63-BBF7-4246-99A4-DC8C3D47870C}" type="sibTrans" cxnId="{FFF7F396-DEC7-43BC-AD13-3B21FAAFFAA0}">
      <dgm:prSet/>
      <dgm:spPr/>
      <dgm:t>
        <a:bodyPr/>
        <a:lstStyle/>
        <a:p>
          <a:endParaRPr lang="it-IT"/>
        </a:p>
      </dgm:t>
    </dgm:pt>
    <dgm:pt modelId="{E482D217-755F-428F-A3FD-39115195B83F}">
      <dgm:prSet custT="1"/>
      <dgm:spPr/>
      <dgm:t>
        <a:bodyPr/>
        <a:lstStyle/>
        <a:p>
          <a:pPr rtl="0"/>
          <a:r>
            <a:rPr lang="it-IT" sz="1400" b="1" dirty="0" smtClean="0"/>
            <a:t>insufficiente diffusione e utilizzo delle nuove tecnologie </a:t>
          </a:r>
          <a:endParaRPr lang="it-IT" sz="1400" b="1" dirty="0"/>
        </a:p>
      </dgm:t>
    </dgm:pt>
    <dgm:pt modelId="{85DA20C9-4DAB-44CE-9C97-AFB617BB5350}" type="parTrans" cxnId="{EF945C4E-73ED-4D77-B8D5-3D48C3A1E6D4}">
      <dgm:prSet/>
      <dgm:spPr/>
      <dgm:t>
        <a:bodyPr/>
        <a:lstStyle/>
        <a:p>
          <a:endParaRPr lang="it-IT"/>
        </a:p>
      </dgm:t>
    </dgm:pt>
    <dgm:pt modelId="{32817C38-424C-413D-AC46-43FE9694C99A}" type="sibTrans" cxnId="{EF945C4E-73ED-4D77-B8D5-3D48C3A1E6D4}">
      <dgm:prSet/>
      <dgm:spPr/>
      <dgm:t>
        <a:bodyPr/>
        <a:lstStyle/>
        <a:p>
          <a:endParaRPr lang="it-IT"/>
        </a:p>
      </dgm:t>
    </dgm:pt>
    <dgm:pt modelId="{C841F612-E64C-4C47-AD17-894376C43E99}">
      <dgm:prSet custT="1"/>
      <dgm:spPr/>
      <dgm:t>
        <a:bodyPr/>
        <a:lstStyle/>
        <a:p>
          <a:pPr rtl="0"/>
          <a:r>
            <a:rPr lang="it-IT" sz="1400" b="1" dirty="0" smtClean="0"/>
            <a:t>diffusione di micro-imprenditorialità senza visione strategica</a:t>
          </a:r>
          <a:endParaRPr lang="it-IT" sz="1400" b="1" dirty="0"/>
        </a:p>
      </dgm:t>
    </dgm:pt>
    <dgm:pt modelId="{3FD4C04F-309B-4270-B1F2-8AA0DCA2BA22}" type="parTrans" cxnId="{4F4EC9E8-02EF-40BA-879E-264A30A37172}">
      <dgm:prSet/>
      <dgm:spPr/>
      <dgm:t>
        <a:bodyPr/>
        <a:lstStyle/>
        <a:p>
          <a:endParaRPr lang="it-IT"/>
        </a:p>
      </dgm:t>
    </dgm:pt>
    <dgm:pt modelId="{3ECD528E-263F-4373-83CE-02F84A0E27E0}" type="sibTrans" cxnId="{4F4EC9E8-02EF-40BA-879E-264A30A37172}">
      <dgm:prSet/>
      <dgm:spPr/>
      <dgm:t>
        <a:bodyPr/>
        <a:lstStyle/>
        <a:p>
          <a:endParaRPr lang="it-IT"/>
        </a:p>
      </dgm:t>
    </dgm:pt>
    <dgm:pt modelId="{0EB3C203-C36A-4C6D-9261-20F847EEE6F0}">
      <dgm:prSet custT="1"/>
      <dgm:spPr/>
      <dgm:t>
        <a:bodyPr/>
        <a:lstStyle/>
        <a:p>
          <a:pPr rtl="0"/>
          <a:r>
            <a:rPr lang="it-IT" sz="1400" b="1" dirty="0" smtClean="0"/>
            <a:t>limitata presenza di grandi catene alberghiere (solo 8 catene presenti in Sicilia, mentre ben 42 si contano nella sola Barcellona e 26 a Vienna)</a:t>
          </a:r>
          <a:endParaRPr lang="it-IT" sz="1400" b="1" dirty="0"/>
        </a:p>
      </dgm:t>
    </dgm:pt>
    <dgm:pt modelId="{F3F78C98-55CE-4E35-83A2-EBBDD3FD85CA}" type="parTrans" cxnId="{58A40235-CA81-4ADF-89A8-6F661285A175}">
      <dgm:prSet/>
      <dgm:spPr/>
      <dgm:t>
        <a:bodyPr/>
        <a:lstStyle/>
        <a:p>
          <a:endParaRPr lang="it-IT"/>
        </a:p>
      </dgm:t>
    </dgm:pt>
    <dgm:pt modelId="{FAE84852-99E3-4C42-A555-045A5045CCAA}" type="sibTrans" cxnId="{58A40235-CA81-4ADF-89A8-6F661285A175}">
      <dgm:prSet/>
      <dgm:spPr/>
      <dgm:t>
        <a:bodyPr/>
        <a:lstStyle/>
        <a:p>
          <a:endParaRPr lang="it-IT"/>
        </a:p>
      </dgm:t>
    </dgm:pt>
    <dgm:pt modelId="{B492C005-C9E4-4294-9DA1-9164095002A3}">
      <dgm:prSet custT="1"/>
      <dgm:spPr/>
      <dgm:t>
        <a:bodyPr/>
        <a:lstStyle/>
        <a:p>
          <a:pPr rtl="0"/>
          <a:r>
            <a:rPr lang="it-IT" sz="1400" b="1" dirty="0" smtClean="0"/>
            <a:t>spiccata stagionalità</a:t>
          </a:r>
          <a:endParaRPr lang="it-IT" sz="1400" b="1" dirty="0"/>
        </a:p>
      </dgm:t>
    </dgm:pt>
    <dgm:pt modelId="{481F1D76-DEF4-4364-9B1A-F9ACAEFF8354}" type="parTrans" cxnId="{9B6A7501-C1BF-42E5-86EC-C8B9F99EA04F}">
      <dgm:prSet/>
      <dgm:spPr/>
      <dgm:t>
        <a:bodyPr/>
        <a:lstStyle/>
        <a:p>
          <a:endParaRPr lang="it-IT"/>
        </a:p>
      </dgm:t>
    </dgm:pt>
    <dgm:pt modelId="{335DDB0F-0BBB-4BF8-BAF7-230C718162D9}" type="sibTrans" cxnId="{9B6A7501-C1BF-42E5-86EC-C8B9F99EA04F}">
      <dgm:prSet/>
      <dgm:spPr/>
      <dgm:t>
        <a:bodyPr/>
        <a:lstStyle/>
        <a:p>
          <a:endParaRPr lang="it-IT"/>
        </a:p>
      </dgm:t>
    </dgm:pt>
    <dgm:pt modelId="{664AE699-B4D0-4932-ABF3-CEAAACF911F7}">
      <dgm:prSet custT="1"/>
      <dgm:spPr/>
      <dgm:t>
        <a:bodyPr/>
        <a:lstStyle/>
        <a:p>
          <a:pPr rtl="0"/>
          <a:r>
            <a:rPr lang="it-IT" sz="1400" b="1" dirty="0" smtClean="0"/>
            <a:t>modello di governance non integrato</a:t>
          </a:r>
          <a:endParaRPr lang="it-IT" sz="1400" b="1" dirty="0"/>
        </a:p>
      </dgm:t>
    </dgm:pt>
    <dgm:pt modelId="{2D229D4C-6FCA-4DDB-8209-953F2340C873}" type="parTrans" cxnId="{77EF51D1-4DE2-4F7B-9DC9-F570846A2BC2}">
      <dgm:prSet/>
      <dgm:spPr/>
      <dgm:t>
        <a:bodyPr/>
        <a:lstStyle/>
        <a:p>
          <a:endParaRPr lang="it-IT"/>
        </a:p>
      </dgm:t>
    </dgm:pt>
    <dgm:pt modelId="{D5B82D85-00C6-47AF-85D6-3E10DDAE4956}" type="sibTrans" cxnId="{77EF51D1-4DE2-4F7B-9DC9-F570846A2BC2}">
      <dgm:prSet/>
      <dgm:spPr/>
      <dgm:t>
        <a:bodyPr/>
        <a:lstStyle/>
        <a:p>
          <a:endParaRPr lang="it-IT"/>
        </a:p>
      </dgm:t>
    </dgm:pt>
    <dgm:pt modelId="{C1731557-0C79-4E8D-BF5D-73279FDB3813}">
      <dgm:prSet custT="1"/>
      <dgm:spPr/>
      <dgm:t>
        <a:bodyPr/>
        <a:lstStyle/>
        <a:p>
          <a:pPr rtl="0"/>
          <a:r>
            <a:rPr lang="it-IT" sz="1400" b="1" dirty="0" smtClean="0"/>
            <a:t>problemi legati alla sicurezza </a:t>
          </a:r>
          <a:endParaRPr lang="it-IT" sz="1400" b="1" dirty="0"/>
        </a:p>
      </dgm:t>
    </dgm:pt>
    <dgm:pt modelId="{19EADE41-1F57-4F54-821D-F32C30673FFD}" type="parTrans" cxnId="{C188FEE6-CB5D-40BC-A1D6-BCEA8D91FCAD}">
      <dgm:prSet/>
      <dgm:spPr/>
      <dgm:t>
        <a:bodyPr/>
        <a:lstStyle/>
        <a:p>
          <a:endParaRPr lang="it-IT"/>
        </a:p>
      </dgm:t>
    </dgm:pt>
    <dgm:pt modelId="{F2D7E609-BE19-49F5-9CFE-FCCA6BCE2D23}" type="sibTrans" cxnId="{C188FEE6-CB5D-40BC-A1D6-BCEA8D91FCAD}">
      <dgm:prSet/>
      <dgm:spPr/>
      <dgm:t>
        <a:bodyPr/>
        <a:lstStyle/>
        <a:p>
          <a:endParaRPr lang="it-IT"/>
        </a:p>
      </dgm:t>
    </dgm:pt>
    <dgm:pt modelId="{9D779C9A-C1E3-472B-8652-C0DCA1A1F251}">
      <dgm:prSet custT="1"/>
      <dgm:spPr/>
      <dgm:t>
        <a:bodyPr/>
        <a:lstStyle/>
        <a:p>
          <a:pPr rtl="0"/>
          <a:r>
            <a:rPr lang="it-IT" sz="1400" b="1" dirty="0" smtClean="0"/>
            <a:t>formazione del personale non in linea con il mercato globale </a:t>
          </a:r>
          <a:endParaRPr lang="it-IT" sz="1400" b="1" dirty="0"/>
        </a:p>
      </dgm:t>
    </dgm:pt>
    <dgm:pt modelId="{6BDFD0B3-D811-4835-9E48-A4685DCEAE86}" type="parTrans" cxnId="{4D867761-B8EE-4135-A067-DD35B716604E}">
      <dgm:prSet/>
      <dgm:spPr/>
      <dgm:t>
        <a:bodyPr/>
        <a:lstStyle/>
        <a:p>
          <a:endParaRPr lang="it-IT"/>
        </a:p>
      </dgm:t>
    </dgm:pt>
    <dgm:pt modelId="{C5A25CE0-6F28-4325-A16F-66C9937C3CFA}" type="sibTrans" cxnId="{4D867761-B8EE-4135-A067-DD35B716604E}">
      <dgm:prSet/>
      <dgm:spPr/>
      <dgm:t>
        <a:bodyPr/>
        <a:lstStyle/>
        <a:p>
          <a:endParaRPr lang="it-IT"/>
        </a:p>
      </dgm:t>
    </dgm:pt>
    <dgm:pt modelId="{67726242-CF95-43F4-A594-865C574CB6B4}">
      <dgm:prSet custT="1"/>
      <dgm:spPr/>
      <dgm:t>
        <a:bodyPr/>
        <a:lstStyle/>
        <a:p>
          <a:pPr rtl="0"/>
          <a:r>
            <a:rPr lang="it-IT" sz="1400" b="1" dirty="0" smtClean="0"/>
            <a:t>offerta non allineata ai bisogni dei segmenti target</a:t>
          </a:r>
          <a:endParaRPr lang="it-IT" sz="1400" b="1" dirty="0"/>
        </a:p>
      </dgm:t>
    </dgm:pt>
    <dgm:pt modelId="{F793373D-08A1-49D3-B725-2B4D28552C98}" type="parTrans" cxnId="{A7D823EC-CE07-407C-B579-D0F11C7EAAC5}">
      <dgm:prSet/>
      <dgm:spPr/>
      <dgm:t>
        <a:bodyPr/>
        <a:lstStyle/>
        <a:p>
          <a:endParaRPr lang="it-IT"/>
        </a:p>
      </dgm:t>
    </dgm:pt>
    <dgm:pt modelId="{7875270A-1FBE-4EDE-A122-2EEB8A9E556F}" type="sibTrans" cxnId="{A7D823EC-CE07-407C-B579-D0F11C7EAAC5}">
      <dgm:prSet/>
      <dgm:spPr/>
      <dgm:t>
        <a:bodyPr/>
        <a:lstStyle/>
        <a:p>
          <a:endParaRPr lang="it-IT"/>
        </a:p>
      </dgm:t>
    </dgm:pt>
    <dgm:pt modelId="{C1B4C975-EF5E-4068-9FBB-A2B5D3A0EB97}">
      <dgm:prSet custT="1"/>
      <dgm:spPr/>
      <dgm:t>
        <a:bodyPr/>
        <a:lstStyle/>
        <a:p>
          <a:pPr rtl="0"/>
          <a:r>
            <a:rPr lang="it-IT" sz="1400" b="1" dirty="0" smtClean="0"/>
            <a:t>insufficiente innovazione nei prodotti turistici</a:t>
          </a:r>
          <a:endParaRPr lang="it-IT" sz="1400" b="1" dirty="0"/>
        </a:p>
      </dgm:t>
    </dgm:pt>
    <dgm:pt modelId="{450008FD-B5AF-4C5B-8029-08E1EC8F0DCB}" type="parTrans" cxnId="{2F0FD543-5AD3-4CA8-8580-AE8F8483E76D}">
      <dgm:prSet/>
      <dgm:spPr/>
      <dgm:t>
        <a:bodyPr/>
        <a:lstStyle/>
        <a:p>
          <a:endParaRPr lang="it-IT"/>
        </a:p>
      </dgm:t>
    </dgm:pt>
    <dgm:pt modelId="{824D5ADE-5B77-48B8-9AF2-49B2F4B2752E}" type="sibTrans" cxnId="{2F0FD543-5AD3-4CA8-8580-AE8F8483E76D}">
      <dgm:prSet/>
      <dgm:spPr/>
      <dgm:t>
        <a:bodyPr/>
        <a:lstStyle/>
        <a:p>
          <a:endParaRPr lang="it-IT"/>
        </a:p>
      </dgm:t>
    </dgm:pt>
    <dgm:pt modelId="{807564EB-B86B-475E-AE7B-99C27AF12110}">
      <dgm:prSet custT="1"/>
      <dgm:spPr/>
      <dgm:t>
        <a:bodyPr/>
        <a:lstStyle/>
        <a:p>
          <a:pPr rtl="0"/>
          <a:r>
            <a:rPr lang="it-IT" sz="1400" b="1" dirty="0" smtClean="0"/>
            <a:t>patrimonio culturale poco valorizzato sia a fini turistici (numero di visitatori) sia in termini economici (ricavi per singolo turista) rispetto a tutti i benchmark internazionali</a:t>
          </a:r>
          <a:endParaRPr lang="it-IT" sz="1400" b="1" dirty="0"/>
        </a:p>
      </dgm:t>
    </dgm:pt>
    <dgm:pt modelId="{A0520949-A253-499A-89EA-ACE20D93FCBC}" type="parTrans" cxnId="{807F7130-604F-44B0-A723-690A3408CA62}">
      <dgm:prSet/>
      <dgm:spPr/>
      <dgm:t>
        <a:bodyPr/>
        <a:lstStyle/>
        <a:p>
          <a:endParaRPr lang="it-IT"/>
        </a:p>
      </dgm:t>
    </dgm:pt>
    <dgm:pt modelId="{A190F31B-2B82-4731-8CB5-4EE91452E7BC}" type="sibTrans" cxnId="{807F7130-604F-44B0-A723-690A3408CA62}">
      <dgm:prSet/>
      <dgm:spPr/>
      <dgm:t>
        <a:bodyPr/>
        <a:lstStyle/>
        <a:p>
          <a:endParaRPr lang="it-IT"/>
        </a:p>
      </dgm:t>
    </dgm:pt>
    <dgm:pt modelId="{C3546026-8515-472B-A950-9FE1F4BFA934}">
      <dgm:prSet custT="1"/>
      <dgm:spPr/>
      <dgm:t>
        <a:bodyPr/>
        <a:lstStyle/>
        <a:p>
          <a:pPr rtl="0"/>
          <a:r>
            <a:rPr lang="it-IT" sz="1400" b="1" dirty="0" smtClean="0"/>
            <a:t>inadeguatezza delle infrastrutture di trasporto e dell’ accessibilità dall’estero </a:t>
          </a:r>
          <a:endParaRPr lang="it-IT" sz="1400" b="1" dirty="0"/>
        </a:p>
      </dgm:t>
    </dgm:pt>
    <dgm:pt modelId="{68C389D8-18D3-47EF-AC14-4C5DDB9D2177}" type="parTrans" cxnId="{A2D2C887-209C-4D2D-9023-9BC3BE46B68D}">
      <dgm:prSet/>
      <dgm:spPr/>
      <dgm:t>
        <a:bodyPr/>
        <a:lstStyle/>
        <a:p>
          <a:endParaRPr lang="it-IT"/>
        </a:p>
      </dgm:t>
    </dgm:pt>
    <dgm:pt modelId="{3EE271BE-9879-4251-9A55-6D2360ACF37D}" type="sibTrans" cxnId="{A2D2C887-209C-4D2D-9023-9BC3BE46B68D}">
      <dgm:prSet/>
      <dgm:spPr/>
      <dgm:t>
        <a:bodyPr/>
        <a:lstStyle/>
        <a:p>
          <a:endParaRPr lang="it-IT"/>
        </a:p>
      </dgm:t>
    </dgm:pt>
    <dgm:pt modelId="{0A3CF1F3-C4EB-44E1-B945-AB0CC09584A5}" type="pres">
      <dgm:prSet presAssocID="{B29D2BF4-B0E9-4C60-8984-6DC3C2949F77}" presName="vert0" presStyleCnt="0">
        <dgm:presLayoutVars>
          <dgm:dir/>
          <dgm:animOne val="branch"/>
          <dgm:animLvl val="lvl"/>
        </dgm:presLayoutVars>
      </dgm:prSet>
      <dgm:spPr/>
      <dgm:t>
        <a:bodyPr/>
        <a:lstStyle/>
        <a:p>
          <a:endParaRPr lang="it-IT"/>
        </a:p>
      </dgm:t>
    </dgm:pt>
    <dgm:pt modelId="{4CE77284-B9F8-446A-9F18-04F1EDF2DFFE}" type="pres">
      <dgm:prSet presAssocID="{D1C556C3-B8F2-4FAF-AE0E-A4924D4EA6B5}" presName="thickLine" presStyleLbl="alignNode1" presStyleIdx="0" presStyleCnt="13"/>
      <dgm:spPr/>
    </dgm:pt>
    <dgm:pt modelId="{4A0D61BB-8E41-4FEC-BEE9-B502429F6856}" type="pres">
      <dgm:prSet presAssocID="{D1C556C3-B8F2-4FAF-AE0E-A4924D4EA6B5}" presName="horz1" presStyleCnt="0"/>
      <dgm:spPr/>
    </dgm:pt>
    <dgm:pt modelId="{DD6F42CC-5201-4CF0-B2C1-49C4DC3C24FA}" type="pres">
      <dgm:prSet presAssocID="{D1C556C3-B8F2-4FAF-AE0E-A4924D4EA6B5}" presName="tx1" presStyleLbl="revTx" presStyleIdx="0" presStyleCnt="13" custScaleY="22969"/>
      <dgm:spPr/>
      <dgm:t>
        <a:bodyPr/>
        <a:lstStyle/>
        <a:p>
          <a:endParaRPr lang="it-IT"/>
        </a:p>
      </dgm:t>
    </dgm:pt>
    <dgm:pt modelId="{7BC15B5A-1095-4FEC-92FB-0D22F2F577EB}" type="pres">
      <dgm:prSet presAssocID="{D1C556C3-B8F2-4FAF-AE0E-A4924D4EA6B5}" presName="vert1" presStyleCnt="0"/>
      <dgm:spPr/>
    </dgm:pt>
    <dgm:pt modelId="{8D771231-BA78-4908-BB7B-D8D6E68A4F94}" type="pres">
      <dgm:prSet presAssocID="{30C928CA-FA79-430E-8BFB-A35117119743}" presName="thickLine" presStyleLbl="alignNode1" presStyleIdx="1" presStyleCnt="13"/>
      <dgm:spPr/>
    </dgm:pt>
    <dgm:pt modelId="{7FDFA36F-BA41-4AA6-A7BC-F12E622EA76C}" type="pres">
      <dgm:prSet presAssocID="{30C928CA-FA79-430E-8BFB-A35117119743}" presName="horz1" presStyleCnt="0"/>
      <dgm:spPr/>
    </dgm:pt>
    <dgm:pt modelId="{0A7E477A-EDAC-4977-9FB7-C42FE4CC628B}" type="pres">
      <dgm:prSet presAssocID="{30C928CA-FA79-430E-8BFB-A35117119743}" presName="tx1" presStyleLbl="revTx" presStyleIdx="1" presStyleCnt="13" custScaleY="20041"/>
      <dgm:spPr/>
      <dgm:t>
        <a:bodyPr/>
        <a:lstStyle/>
        <a:p>
          <a:endParaRPr lang="it-IT"/>
        </a:p>
      </dgm:t>
    </dgm:pt>
    <dgm:pt modelId="{2BD7B284-9336-4494-80B9-F85A5095CCA0}" type="pres">
      <dgm:prSet presAssocID="{30C928CA-FA79-430E-8BFB-A35117119743}" presName="vert1" presStyleCnt="0"/>
      <dgm:spPr/>
    </dgm:pt>
    <dgm:pt modelId="{21165AB0-FB69-42C1-964C-0CB01F3A7266}" type="pres">
      <dgm:prSet presAssocID="{E482D217-755F-428F-A3FD-39115195B83F}" presName="thickLine" presStyleLbl="alignNode1" presStyleIdx="2" presStyleCnt="13"/>
      <dgm:spPr/>
    </dgm:pt>
    <dgm:pt modelId="{EFCCC889-2940-4D42-BEDE-8B32D587C638}" type="pres">
      <dgm:prSet presAssocID="{E482D217-755F-428F-A3FD-39115195B83F}" presName="horz1" presStyleCnt="0"/>
      <dgm:spPr/>
    </dgm:pt>
    <dgm:pt modelId="{80678905-37C3-4975-AAA3-618BA1A97117}" type="pres">
      <dgm:prSet presAssocID="{E482D217-755F-428F-A3FD-39115195B83F}" presName="tx1" presStyleLbl="revTx" presStyleIdx="2" presStyleCnt="13" custScaleY="23938"/>
      <dgm:spPr/>
      <dgm:t>
        <a:bodyPr/>
        <a:lstStyle/>
        <a:p>
          <a:endParaRPr lang="it-IT"/>
        </a:p>
      </dgm:t>
    </dgm:pt>
    <dgm:pt modelId="{0993B6D6-0475-4CB0-97D5-7F780A1E54BC}" type="pres">
      <dgm:prSet presAssocID="{E482D217-755F-428F-A3FD-39115195B83F}" presName="vert1" presStyleCnt="0"/>
      <dgm:spPr/>
    </dgm:pt>
    <dgm:pt modelId="{9D924A19-DAD6-485E-87C0-152F048C25AB}" type="pres">
      <dgm:prSet presAssocID="{C841F612-E64C-4C47-AD17-894376C43E99}" presName="thickLine" presStyleLbl="alignNode1" presStyleIdx="3" presStyleCnt="13"/>
      <dgm:spPr/>
    </dgm:pt>
    <dgm:pt modelId="{CF752DA2-BE35-4AD4-AF8E-D6E627456E56}" type="pres">
      <dgm:prSet presAssocID="{C841F612-E64C-4C47-AD17-894376C43E99}" presName="horz1" presStyleCnt="0"/>
      <dgm:spPr/>
    </dgm:pt>
    <dgm:pt modelId="{22CB83DA-13FF-453F-B742-2C97346EC855}" type="pres">
      <dgm:prSet presAssocID="{C841F612-E64C-4C47-AD17-894376C43E99}" presName="tx1" presStyleLbl="revTx" presStyleIdx="3" presStyleCnt="13" custScaleY="19803"/>
      <dgm:spPr/>
      <dgm:t>
        <a:bodyPr/>
        <a:lstStyle/>
        <a:p>
          <a:endParaRPr lang="it-IT"/>
        </a:p>
      </dgm:t>
    </dgm:pt>
    <dgm:pt modelId="{CFA844E9-E9A4-4339-87C7-8A7409610B5A}" type="pres">
      <dgm:prSet presAssocID="{C841F612-E64C-4C47-AD17-894376C43E99}" presName="vert1" presStyleCnt="0"/>
      <dgm:spPr/>
    </dgm:pt>
    <dgm:pt modelId="{C244273B-CE8E-4919-941A-B260279C5B54}" type="pres">
      <dgm:prSet presAssocID="{0EB3C203-C36A-4C6D-9261-20F847EEE6F0}" presName="thickLine" presStyleLbl="alignNode1" presStyleIdx="4" presStyleCnt="13"/>
      <dgm:spPr/>
    </dgm:pt>
    <dgm:pt modelId="{BBB9186E-66F8-4F5B-9E71-7930627EB8AC}" type="pres">
      <dgm:prSet presAssocID="{0EB3C203-C36A-4C6D-9261-20F847EEE6F0}" presName="horz1" presStyleCnt="0"/>
      <dgm:spPr/>
    </dgm:pt>
    <dgm:pt modelId="{CD7F02FD-CB65-47A6-8254-AED4021613BE}" type="pres">
      <dgm:prSet presAssocID="{0EB3C203-C36A-4C6D-9261-20F847EEE6F0}" presName="tx1" presStyleLbl="revTx" presStyleIdx="4" presStyleCnt="13" custScaleY="35288"/>
      <dgm:spPr/>
      <dgm:t>
        <a:bodyPr/>
        <a:lstStyle/>
        <a:p>
          <a:endParaRPr lang="it-IT"/>
        </a:p>
      </dgm:t>
    </dgm:pt>
    <dgm:pt modelId="{6FF20D5A-B033-4B93-AA7D-261724EC8063}" type="pres">
      <dgm:prSet presAssocID="{0EB3C203-C36A-4C6D-9261-20F847EEE6F0}" presName="vert1" presStyleCnt="0"/>
      <dgm:spPr/>
    </dgm:pt>
    <dgm:pt modelId="{EF64DF17-E9B8-4D4B-9D44-8B6EB877C058}" type="pres">
      <dgm:prSet presAssocID="{B492C005-C9E4-4294-9DA1-9164095002A3}" presName="thickLine" presStyleLbl="alignNode1" presStyleIdx="5" presStyleCnt="13"/>
      <dgm:spPr/>
    </dgm:pt>
    <dgm:pt modelId="{01E629AB-DF85-4D68-8B19-20D682D56FE5}" type="pres">
      <dgm:prSet presAssocID="{B492C005-C9E4-4294-9DA1-9164095002A3}" presName="horz1" presStyleCnt="0"/>
      <dgm:spPr/>
    </dgm:pt>
    <dgm:pt modelId="{7EC3DE0A-9F3C-4835-9629-48832F678E1B}" type="pres">
      <dgm:prSet presAssocID="{B492C005-C9E4-4294-9DA1-9164095002A3}" presName="tx1" presStyleLbl="revTx" presStyleIdx="5" presStyleCnt="13" custScaleY="23250"/>
      <dgm:spPr/>
      <dgm:t>
        <a:bodyPr/>
        <a:lstStyle/>
        <a:p>
          <a:endParaRPr lang="it-IT"/>
        </a:p>
      </dgm:t>
    </dgm:pt>
    <dgm:pt modelId="{05DB5F15-CC83-4BB6-BDE8-E37AB0510CB5}" type="pres">
      <dgm:prSet presAssocID="{B492C005-C9E4-4294-9DA1-9164095002A3}" presName="vert1" presStyleCnt="0"/>
      <dgm:spPr/>
    </dgm:pt>
    <dgm:pt modelId="{9D72FC28-B1C1-429A-AECF-EA857DA8733F}" type="pres">
      <dgm:prSet presAssocID="{664AE699-B4D0-4932-ABF3-CEAAACF911F7}" presName="thickLine" presStyleLbl="alignNode1" presStyleIdx="6" presStyleCnt="13"/>
      <dgm:spPr/>
    </dgm:pt>
    <dgm:pt modelId="{62BC93E3-D7A5-4EF3-8075-8F6EC61D578B}" type="pres">
      <dgm:prSet presAssocID="{664AE699-B4D0-4932-ABF3-CEAAACF911F7}" presName="horz1" presStyleCnt="0"/>
      <dgm:spPr/>
    </dgm:pt>
    <dgm:pt modelId="{0E61A89F-C752-45B7-9FF8-69422DB19B66}" type="pres">
      <dgm:prSet presAssocID="{664AE699-B4D0-4932-ABF3-CEAAACF911F7}" presName="tx1" presStyleLbl="revTx" presStyleIdx="6" presStyleCnt="13" custScaleY="24054"/>
      <dgm:spPr/>
      <dgm:t>
        <a:bodyPr/>
        <a:lstStyle/>
        <a:p>
          <a:endParaRPr lang="it-IT"/>
        </a:p>
      </dgm:t>
    </dgm:pt>
    <dgm:pt modelId="{8867B153-6B72-4D77-969A-18B89525FE4C}" type="pres">
      <dgm:prSet presAssocID="{664AE699-B4D0-4932-ABF3-CEAAACF911F7}" presName="vert1" presStyleCnt="0"/>
      <dgm:spPr/>
    </dgm:pt>
    <dgm:pt modelId="{F55A0AC0-43B4-4920-9BDA-7803FD7C9800}" type="pres">
      <dgm:prSet presAssocID="{C1731557-0C79-4E8D-BF5D-73279FDB3813}" presName="thickLine" presStyleLbl="alignNode1" presStyleIdx="7" presStyleCnt="13"/>
      <dgm:spPr/>
    </dgm:pt>
    <dgm:pt modelId="{16793CF9-E2A6-40FB-8B26-180CFC55CE4D}" type="pres">
      <dgm:prSet presAssocID="{C1731557-0C79-4E8D-BF5D-73279FDB3813}" presName="horz1" presStyleCnt="0"/>
      <dgm:spPr/>
    </dgm:pt>
    <dgm:pt modelId="{877BE53A-E1F3-4855-9847-A562A558BAD5}" type="pres">
      <dgm:prSet presAssocID="{C1731557-0C79-4E8D-BF5D-73279FDB3813}" presName="tx1" presStyleLbl="revTx" presStyleIdx="7" presStyleCnt="13" custScaleY="30714"/>
      <dgm:spPr/>
      <dgm:t>
        <a:bodyPr/>
        <a:lstStyle/>
        <a:p>
          <a:endParaRPr lang="it-IT"/>
        </a:p>
      </dgm:t>
    </dgm:pt>
    <dgm:pt modelId="{BB940DED-766B-4012-B0DB-BC88476422A8}" type="pres">
      <dgm:prSet presAssocID="{C1731557-0C79-4E8D-BF5D-73279FDB3813}" presName="vert1" presStyleCnt="0"/>
      <dgm:spPr/>
    </dgm:pt>
    <dgm:pt modelId="{A2BB0196-E0DD-47E0-B473-8601001CFC15}" type="pres">
      <dgm:prSet presAssocID="{C3546026-8515-472B-A950-9FE1F4BFA934}" presName="thickLine" presStyleLbl="alignNode1" presStyleIdx="8" presStyleCnt="13"/>
      <dgm:spPr/>
    </dgm:pt>
    <dgm:pt modelId="{E77DB9EE-C8F7-42BE-8A94-C57AC47F9EBB}" type="pres">
      <dgm:prSet presAssocID="{C3546026-8515-472B-A950-9FE1F4BFA934}" presName="horz1" presStyleCnt="0"/>
      <dgm:spPr/>
    </dgm:pt>
    <dgm:pt modelId="{D7820CAE-9A87-4857-9F4F-65C6E255FBD8}" type="pres">
      <dgm:prSet presAssocID="{C3546026-8515-472B-A950-9FE1F4BFA934}" presName="tx1" presStyleLbl="revTx" presStyleIdx="8" presStyleCnt="13" custScaleY="21447"/>
      <dgm:spPr/>
      <dgm:t>
        <a:bodyPr/>
        <a:lstStyle/>
        <a:p>
          <a:endParaRPr lang="it-IT"/>
        </a:p>
      </dgm:t>
    </dgm:pt>
    <dgm:pt modelId="{6DB89580-19C2-4764-9BC8-B382394D2865}" type="pres">
      <dgm:prSet presAssocID="{C3546026-8515-472B-A950-9FE1F4BFA934}" presName="vert1" presStyleCnt="0"/>
      <dgm:spPr/>
    </dgm:pt>
    <dgm:pt modelId="{3A5097A5-DC56-4B41-AE8F-CC4B69A61CE7}" type="pres">
      <dgm:prSet presAssocID="{9D779C9A-C1E3-472B-8652-C0DCA1A1F251}" presName="thickLine" presStyleLbl="alignNode1" presStyleIdx="9" presStyleCnt="13"/>
      <dgm:spPr/>
    </dgm:pt>
    <dgm:pt modelId="{294C7B7F-DC56-452A-817B-387A249BB7A2}" type="pres">
      <dgm:prSet presAssocID="{9D779C9A-C1E3-472B-8652-C0DCA1A1F251}" presName="horz1" presStyleCnt="0"/>
      <dgm:spPr/>
    </dgm:pt>
    <dgm:pt modelId="{EDB1294A-5210-4B59-B333-26236138CA51}" type="pres">
      <dgm:prSet presAssocID="{9D779C9A-C1E3-472B-8652-C0DCA1A1F251}" presName="tx1" presStyleLbl="revTx" presStyleIdx="9" presStyleCnt="13" custScaleY="29164"/>
      <dgm:spPr/>
      <dgm:t>
        <a:bodyPr/>
        <a:lstStyle/>
        <a:p>
          <a:endParaRPr lang="it-IT"/>
        </a:p>
      </dgm:t>
    </dgm:pt>
    <dgm:pt modelId="{2EE04B09-CD92-4052-84FE-EE798A0441CC}" type="pres">
      <dgm:prSet presAssocID="{9D779C9A-C1E3-472B-8652-C0DCA1A1F251}" presName="vert1" presStyleCnt="0"/>
      <dgm:spPr/>
    </dgm:pt>
    <dgm:pt modelId="{1E5CD0A2-BBBE-4085-9093-863DC024EB45}" type="pres">
      <dgm:prSet presAssocID="{67726242-CF95-43F4-A594-865C574CB6B4}" presName="thickLine" presStyleLbl="alignNode1" presStyleIdx="10" presStyleCnt="13"/>
      <dgm:spPr/>
    </dgm:pt>
    <dgm:pt modelId="{D36E3BB0-3548-43F9-A260-CFB90275FA6F}" type="pres">
      <dgm:prSet presAssocID="{67726242-CF95-43F4-A594-865C574CB6B4}" presName="horz1" presStyleCnt="0"/>
      <dgm:spPr/>
    </dgm:pt>
    <dgm:pt modelId="{FB761A90-8403-4128-857C-CB36C75AFF38}" type="pres">
      <dgm:prSet presAssocID="{67726242-CF95-43F4-A594-865C574CB6B4}" presName="tx1" presStyleLbl="revTx" presStyleIdx="10" presStyleCnt="13" custScaleY="23011"/>
      <dgm:spPr/>
      <dgm:t>
        <a:bodyPr/>
        <a:lstStyle/>
        <a:p>
          <a:endParaRPr lang="it-IT"/>
        </a:p>
      </dgm:t>
    </dgm:pt>
    <dgm:pt modelId="{C2C1054A-F41A-42AD-BBCA-EC35DE2BBDF7}" type="pres">
      <dgm:prSet presAssocID="{67726242-CF95-43F4-A594-865C574CB6B4}" presName="vert1" presStyleCnt="0"/>
      <dgm:spPr/>
    </dgm:pt>
    <dgm:pt modelId="{92909243-86BD-49C4-934F-56719D77D55B}" type="pres">
      <dgm:prSet presAssocID="{C1B4C975-EF5E-4068-9FBB-A2B5D3A0EB97}" presName="thickLine" presStyleLbl="alignNode1" presStyleIdx="11" presStyleCnt="13"/>
      <dgm:spPr/>
    </dgm:pt>
    <dgm:pt modelId="{462F8580-0006-4057-A6EB-3892D70D627A}" type="pres">
      <dgm:prSet presAssocID="{C1B4C975-EF5E-4068-9FBB-A2B5D3A0EB97}" presName="horz1" presStyleCnt="0"/>
      <dgm:spPr/>
    </dgm:pt>
    <dgm:pt modelId="{C60B34FB-F048-47CD-995C-CE73BF97D978}" type="pres">
      <dgm:prSet presAssocID="{C1B4C975-EF5E-4068-9FBB-A2B5D3A0EB97}" presName="tx1" presStyleLbl="revTx" presStyleIdx="11" presStyleCnt="13" custScaleY="18137"/>
      <dgm:spPr/>
      <dgm:t>
        <a:bodyPr/>
        <a:lstStyle/>
        <a:p>
          <a:endParaRPr lang="it-IT"/>
        </a:p>
      </dgm:t>
    </dgm:pt>
    <dgm:pt modelId="{D7FF3F36-1055-4EAA-8823-A96E09329658}" type="pres">
      <dgm:prSet presAssocID="{C1B4C975-EF5E-4068-9FBB-A2B5D3A0EB97}" presName="vert1" presStyleCnt="0"/>
      <dgm:spPr/>
    </dgm:pt>
    <dgm:pt modelId="{7BC99CCF-DAC6-43E7-87B5-CFAE750835B5}" type="pres">
      <dgm:prSet presAssocID="{807564EB-B86B-475E-AE7B-99C27AF12110}" presName="thickLine" presStyleLbl="alignNode1" presStyleIdx="12" presStyleCnt="13"/>
      <dgm:spPr/>
    </dgm:pt>
    <dgm:pt modelId="{757AE112-C62B-4FA9-B99D-215F65D26D5D}" type="pres">
      <dgm:prSet presAssocID="{807564EB-B86B-475E-AE7B-99C27AF12110}" presName="horz1" presStyleCnt="0"/>
      <dgm:spPr/>
    </dgm:pt>
    <dgm:pt modelId="{49DDDDD3-2F15-41C9-9881-41FAE9B4D889}" type="pres">
      <dgm:prSet presAssocID="{807564EB-B86B-475E-AE7B-99C27AF12110}" presName="tx1" presStyleLbl="revTx" presStyleIdx="12" presStyleCnt="13" custScaleY="30505"/>
      <dgm:spPr/>
      <dgm:t>
        <a:bodyPr/>
        <a:lstStyle/>
        <a:p>
          <a:endParaRPr lang="it-IT"/>
        </a:p>
      </dgm:t>
    </dgm:pt>
    <dgm:pt modelId="{BC3F17D5-7B76-4B70-9002-CF50E03D7033}" type="pres">
      <dgm:prSet presAssocID="{807564EB-B86B-475E-AE7B-99C27AF12110}" presName="vert1" presStyleCnt="0"/>
      <dgm:spPr/>
    </dgm:pt>
  </dgm:ptLst>
  <dgm:cxnLst>
    <dgm:cxn modelId="{648890F5-386A-48A5-9CEE-C9E16E89816F}" type="presOf" srcId="{C841F612-E64C-4C47-AD17-894376C43E99}" destId="{22CB83DA-13FF-453F-B742-2C97346EC855}" srcOrd="0" destOrd="0" presId="urn:microsoft.com/office/officeart/2008/layout/LinedList"/>
    <dgm:cxn modelId="{EF945C4E-73ED-4D77-B8D5-3D48C3A1E6D4}" srcId="{B29D2BF4-B0E9-4C60-8984-6DC3C2949F77}" destId="{E482D217-755F-428F-A3FD-39115195B83F}" srcOrd="2" destOrd="0" parTransId="{85DA20C9-4DAB-44CE-9C97-AFB617BB5350}" sibTransId="{32817C38-424C-413D-AC46-43FE9694C99A}"/>
    <dgm:cxn modelId="{2CB884BB-686F-447D-A1CE-A7F7A5764B3A}" type="presOf" srcId="{67726242-CF95-43F4-A594-865C574CB6B4}" destId="{FB761A90-8403-4128-857C-CB36C75AFF38}" srcOrd="0" destOrd="0" presId="urn:microsoft.com/office/officeart/2008/layout/LinedList"/>
    <dgm:cxn modelId="{807F7130-604F-44B0-A723-690A3408CA62}" srcId="{B29D2BF4-B0E9-4C60-8984-6DC3C2949F77}" destId="{807564EB-B86B-475E-AE7B-99C27AF12110}" srcOrd="12" destOrd="0" parTransId="{A0520949-A253-499A-89EA-ACE20D93FCBC}" sibTransId="{A190F31B-2B82-4731-8CB5-4EE91452E7BC}"/>
    <dgm:cxn modelId="{CC32FDB2-C4AE-42D7-96C6-66093E9E9B3E}" type="presOf" srcId="{B492C005-C9E4-4294-9DA1-9164095002A3}" destId="{7EC3DE0A-9F3C-4835-9629-48832F678E1B}" srcOrd="0" destOrd="0" presId="urn:microsoft.com/office/officeart/2008/layout/LinedList"/>
    <dgm:cxn modelId="{58A40235-CA81-4ADF-89A8-6F661285A175}" srcId="{B29D2BF4-B0E9-4C60-8984-6DC3C2949F77}" destId="{0EB3C203-C36A-4C6D-9261-20F847EEE6F0}" srcOrd="4" destOrd="0" parTransId="{F3F78C98-55CE-4E35-83A2-EBBDD3FD85CA}" sibTransId="{FAE84852-99E3-4C42-A555-045A5045CCAA}"/>
    <dgm:cxn modelId="{9B6A7501-C1BF-42E5-86EC-C8B9F99EA04F}" srcId="{B29D2BF4-B0E9-4C60-8984-6DC3C2949F77}" destId="{B492C005-C9E4-4294-9DA1-9164095002A3}" srcOrd="5" destOrd="0" parTransId="{481F1D76-DEF4-4364-9B1A-F9ACAEFF8354}" sibTransId="{335DDB0F-0BBB-4BF8-BAF7-230C718162D9}"/>
    <dgm:cxn modelId="{D481BA24-A788-4877-8EB0-8405A6D7209F}" type="presOf" srcId="{664AE699-B4D0-4932-ABF3-CEAAACF911F7}" destId="{0E61A89F-C752-45B7-9FF8-69422DB19B66}" srcOrd="0" destOrd="0" presId="urn:microsoft.com/office/officeart/2008/layout/LinedList"/>
    <dgm:cxn modelId="{68ACD6C8-A432-4910-ABC4-7F9308DB89EC}" type="presOf" srcId="{E482D217-755F-428F-A3FD-39115195B83F}" destId="{80678905-37C3-4975-AAA3-618BA1A97117}" srcOrd="0" destOrd="0" presId="urn:microsoft.com/office/officeart/2008/layout/LinedList"/>
    <dgm:cxn modelId="{0A127CB9-3033-427A-AF10-558A5FECE17C}" type="presOf" srcId="{0EB3C203-C36A-4C6D-9261-20F847EEE6F0}" destId="{CD7F02FD-CB65-47A6-8254-AED4021613BE}" srcOrd="0" destOrd="0" presId="urn:microsoft.com/office/officeart/2008/layout/LinedList"/>
    <dgm:cxn modelId="{734B5DDA-D544-4C2D-A04A-4F0D4A74C1DE}" type="presOf" srcId="{C1B4C975-EF5E-4068-9FBB-A2B5D3A0EB97}" destId="{C60B34FB-F048-47CD-995C-CE73BF97D978}" srcOrd="0" destOrd="0" presId="urn:microsoft.com/office/officeart/2008/layout/LinedList"/>
    <dgm:cxn modelId="{3C33F39B-3748-43C4-86DE-2C898EA33063}" type="presOf" srcId="{D1C556C3-B8F2-4FAF-AE0E-A4924D4EA6B5}" destId="{DD6F42CC-5201-4CF0-B2C1-49C4DC3C24FA}" srcOrd="0" destOrd="0" presId="urn:microsoft.com/office/officeart/2008/layout/LinedList"/>
    <dgm:cxn modelId="{C188FEE6-CB5D-40BC-A1D6-BCEA8D91FCAD}" srcId="{B29D2BF4-B0E9-4C60-8984-6DC3C2949F77}" destId="{C1731557-0C79-4E8D-BF5D-73279FDB3813}" srcOrd="7" destOrd="0" parTransId="{19EADE41-1F57-4F54-821D-F32C30673FFD}" sibTransId="{F2D7E609-BE19-49F5-9CFE-FCCA6BCE2D23}"/>
    <dgm:cxn modelId="{3BCE57C1-C548-42F1-BBE5-0D66C0F75B02}" type="presOf" srcId="{30C928CA-FA79-430E-8BFB-A35117119743}" destId="{0A7E477A-EDAC-4977-9FB7-C42FE4CC628B}" srcOrd="0" destOrd="0" presId="urn:microsoft.com/office/officeart/2008/layout/LinedList"/>
    <dgm:cxn modelId="{4D867761-B8EE-4135-A067-DD35B716604E}" srcId="{B29D2BF4-B0E9-4C60-8984-6DC3C2949F77}" destId="{9D779C9A-C1E3-472B-8652-C0DCA1A1F251}" srcOrd="9" destOrd="0" parTransId="{6BDFD0B3-D811-4835-9E48-A4685DCEAE86}" sibTransId="{C5A25CE0-6F28-4325-A16F-66C9937C3CFA}"/>
    <dgm:cxn modelId="{A2D2C887-209C-4D2D-9023-9BC3BE46B68D}" srcId="{B29D2BF4-B0E9-4C60-8984-6DC3C2949F77}" destId="{C3546026-8515-472B-A950-9FE1F4BFA934}" srcOrd="8" destOrd="0" parTransId="{68C389D8-18D3-47EF-AC14-4C5DDB9D2177}" sibTransId="{3EE271BE-9879-4251-9A55-6D2360ACF37D}"/>
    <dgm:cxn modelId="{4F4EC9E8-02EF-40BA-879E-264A30A37172}" srcId="{B29D2BF4-B0E9-4C60-8984-6DC3C2949F77}" destId="{C841F612-E64C-4C47-AD17-894376C43E99}" srcOrd="3" destOrd="0" parTransId="{3FD4C04F-309B-4270-B1F2-8AA0DCA2BA22}" sibTransId="{3ECD528E-263F-4373-83CE-02F84A0E27E0}"/>
    <dgm:cxn modelId="{B362C562-4A11-4FE8-963B-8A54D88FBB53}" type="presOf" srcId="{9D779C9A-C1E3-472B-8652-C0DCA1A1F251}" destId="{EDB1294A-5210-4B59-B333-26236138CA51}" srcOrd="0" destOrd="0" presId="urn:microsoft.com/office/officeart/2008/layout/LinedList"/>
    <dgm:cxn modelId="{A7D823EC-CE07-407C-B579-D0F11C7EAAC5}" srcId="{B29D2BF4-B0E9-4C60-8984-6DC3C2949F77}" destId="{67726242-CF95-43F4-A594-865C574CB6B4}" srcOrd="10" destOrd="0" parTransId="{F793373D-08A1-49D3-B725-2B4D28552C98}" sibTransId="{7875270A-1FBE-4EDE-A122-2EEB8A9E556F}"/>
    <dgm:cxn modelId="{FFF7F396-DEC7-43BC-AD13-3B21FAAFFAA0}" srcId="{B29D2BF4-B0E9-4C60-8984-6DC3C2949F77}" destId="{30C928CA-FA79-430E-8BFB-A35117119743}" srcOrd="1" destOrd="0" parTransId="{222AB6EA-EED0-4898-8608-66EF32AAF1FD}" sibTransId="{91980C63-BBF7-4246-99A4-DC8C3D47870C}"/>
    <dgm:cxn modelId="{8794D976-0173-4ADF-AD8C-EA69130E92A3}" srcId="{B29D2BF4-B0E9-4C60-8984-6DC3C2949F77}" destId="{D1C556C3-B8F2-4FAF-AE0E-A4924D4EA6B5}" srcOrd="0" destOrd="0" parTransId="{17F45286-EE6D-4595-835E-DE9B6F5C112A}" sibTransId="{161F17BE-778F-479C-88B1-6070E20EC955}"/>
    <dgm:cxn modelId="{53DD9550-5561-4C19-B05C-A52009058772}" type="presOf" srcId="{B29D2BF4-B0E9-4C60-8984-6DC3C2949F77}" destId="{0A3CF1F3-C4EB-44E1-B945-AB0CC09584A5}" srcOrd="0" destOrd="0" presId="urn:microsoft.com/office/officeart/2008/layout/LinedList"/>
    <dgm:cxn modelId="{BF19A30C-690D-4F0F-B992-8E9FB68CEBAD}" type="presOf" srcId="{807564EB-B86B-475E-AE7B-99C27AF12110}" destId="{49DDDDD3-2F15-41C9-9881-41FAE9B4D889}" srcOrd="0" destOrd="0" presId="urn:microsoft.com/office/officeart/2008/layout/LinedList"/>
    <dgm:cxn modelId="{77EF51D1-4DE2-4F7B-9DC9-F570846A2BC2}" srcId="{B29D2BF4-B0E9-4C60-8984-6DC3C2949F77}" destId="{664AE699-B4D0-4932-ABF3-CEAAACF911F7}" srcOrd="6" destOrd="0" parTransId="{2D229D4C-6FCA-4DDB-8209-953F2340C873}" sibTransId="{D5B82D85-00C6-47AF-85D6-3E10DDAE4956}"/>
    <dgm:cxn modelId="{0AA7F742-A9D6-4F7B-9850-78D70DE7431B}" type="presOf" srcId="{C1731557-0C79-4E8D-BF5D-73279FDB3813}" destId="{877BE53A-E1F3-4855-9847-A562A558BAD5}" srcOrd="0" destOrd="0" presId="urn:microsoft.com/office/officeart/2008/layout/LinedList"/>
    <dgm:cxn modelId="{2F0FD543-5AD3-4CA8-8580-AE8F8483E76D}" srcId="{B29D2BF4-B0E9-4C60-8984-6DC3C2949F77}" destId="{C1B4C975-EF5E-4068-9FBB-A2B5D3A0EB97}" srcOrd="11" destOrd="0" parTransId="{450008FD-B5AF-4C5B-8029-08E1EC8F0DCB}" sibTransId="{824D5ADE-5B77-48B8-9AF2-49B2F4B2752E}"/>
    <dgm:cxn modelId="{59CE0F21-CFED-4B77-9134-827EBBF357C0}" type="presOf" srcId="{C3546026-8515-472B-A950-9FE1F4BFA934}" destId="{D7820CAE-9A87-4857-9F4F-65C6E255FBD8}" srcOrd="0" destOrd="0" presId="urn:microsoft.com/office/officeart/2008/layout/LinedList"/>
    <dgm:cxn modelId="{5C677516-A17C-44AD-A43A-59ADE6D3CC71}" type="presParOf" srcId="{0A3CF1F3-C4EB-44E1-B945-AB0CC09584A5}" destId="{4CE77284-B9F8-446A-9F18-04F1EDF2DFFE}" srcOrd="0" destOrd="0" presId="urn:microsoft.com/office/officeart/2008/layout/LinedList"/>
    <dgm:cxn modelId="{77B455C4-26C1-46CD-81B1-811C4A913EF5}" type="presParOf" srcId="{0A3CF1F3-C4EB-44E1-B945-AB0CC09584A5}" destId="{4A0D61BB-8E41-4FEC-BEE9-B502429F6856}" srcOrd="1" destOrd="0" presId="urn:microsoft.com/office/officeart/2008/layout/LinedList"/>
    <dgm:cxn modelId="{423E5E9B-39E6-408B-A127-C881017C3DAB}" type="presParOf" srcId="{4A0D61BB-8E41-4FEC-BEE9-B502429F6856}" destId="{DD6F42CC-5201-4CF0-B2C1-49C4DC3C24FA}" srcOrd="0" destOrd="0" presId="urn:microsoft.com/office/officeart/2008/layout/LinedList"/>
    <dgm:cxn modelId="{9B21BF16-EA56-461F-8263-58689EB8FBC3}" type="presParOf" srcId="{4A0D61BB-8E41-4FEC-BEE9-B502429F6856}" destId="{7BC15B5A-1095-4FEC-92FB-0D22F2F577EB}" srcOrd="1" destOrd="0" presId="urn:microsoft.com/office/officeart/2008/layout/LinedList"/>
    <dgm:cxn modelId="{66C60476-D341-4B94-9762-13B519D5C9B6}" type="presParOf" srcId="{0A3CF1F3-C4EB-44E1-B945-AB0CC09584A5}" destId="{8D771231-BA78-4908-BB7B-D8D6E68A4F94}" srcOrd="2" destOrd="0" presId="urn:microsoft.com/office/officeart/2008/layout/LinedList"/>
    <dgm:cxn modelId="{112B4598-877D-43FE-998A-FB7AC02A87AF}" type="presParOf" srcId="{0A3CF1F3-C4EB-44E1-B945-AB0CC09584A5}" destId="{7FDFA36F-BA41-4AA6-A7BC-F12E622EA76C}" srcOrd="3" destOrd="0" presId="urn:microsoft.com/office/officeart/2008/layout/LinedList"/>
    <dgm:cxn modelId="{D9151B62-C6B3-4E9B-9406-DED3434F903C}" type="presParOf" srcId="{7FDFA36F-BA41-4AA6-A7BC-F12E622EA76C}" destId="{0A7E477A-EDAC-4977-9FB7-C42FE4CC628B}" srcOrd="0" destOrd="0" presId="urn:microsoft.com/office/officeart/2008/layout/LinedList"/>
    <dgm:cxn modelId="{6B5CDD4F-C754-4BAB-87FC-9F2926A59E78}" type="presParOf" srcId="{7FDFA36F-BA41-4AA6-A7BC-F12E622EA76C}" destId="{2BD7B284-9336-4494-80B9-F85A5095CCA0}" srcOrd="1" destOrd="0" presId="urn:microsoft.com/office/officeart/2008/layout/LinedList"/>
    <dgm:cxn modelId="{33B3A2DA-3A39-4F69-8B63-466863300DA2}" type="presParOf" srcId="{0A3CF1F3-C4EB-44E1-B945-AB0CC09584A5}" destId="{21165AB0-FB69-42C1-964C-0CB01F3A7266}" srcOrd="4" destOrd="0" presId="urn:microsoft.com/office/officeart/2008/layout/LinedList"/>
    <dgm:cxn modelId="{47F420BB-0A5B-45A3-B580-21BDCE6E3A79}" type="presParOf" srcId="{0A3CF1F3-C4EB-44E1-B945-AB0CC09584A5}" destId="{EFCCC889-2940-4D42-BEDE-8B32D587C638}" srcOrd="5" destOrd="0" presId="urn:microsoft.com/office/officeart/2008/layout/LinedList"/>
    <dgm:cxn modelId="{27AFBF0A-A334-45AC-BCDA-37AE6DBC1D0D}" type="presParOf" srcId="{EFCCC889-2940-4D42-BEDE-8B32D587C638}" destId="{80678905-37C3-4975-AAA3-618BA1A97117}" srcOrd="0" destOrd="0" presId="urn:microsoft.com/office/officeart/2008/layout/LinedList"/>
    <dgm:cxn modelId="{F5C1D89B-ED5D-4D19-A6E9-F548BBFE0EB2}" type="presParOf" srcId="{EFCCC889-2940-4D42-BEDE-8B32D587C638}" destId="{0993B6D6-0475-4CB0-97D5-7F780A1E54BC}" srcOrd="1" destOrd="0" presId="urn:microsoft.com/office/officeart/2008/layout/LinedList"/>
    <dgm:cxn modelId="{68DB5715-BB97-43EA-BA7F-D6DFB43A2DA9}" type="presParOf" srcId="{0A3CF1F3-C4EB-44E1-B945-AB0CC09584A5}" destId="{9D924A19-DAD6-485E-87C0-152F048C25AB}" srcOrd="6" destOrd="0" presId="urn:microsoft.com/office/officeart/2008/layout/LinedList"/>
    <dgm:cxn modelId="{F0168F84-6BD3-4EFE-973A-CCE93C730584}" type="presParOf" srcId="{0A3CF1F3-C4EB-44E1-B945-AB0CC09584A5}" destId="{CF752DA2-BE35-4AD4-AF8E-D6E627456E56}" srcOrd="7" destOrd="0" presId="urn:microsoft.com/office/officeart/2008/layout/LinedList"/>
    <dgm:cxn modelId="{BFEEC994-E5AD-4D7E-9060-2679EAD71637}" type="presParOf" srcId="{CF752DA2-BE35-4AD4-AF8E-D6E627456E56}" destId="{22CB83DA-13FF-453F-B742-2C97346EC855}" srcOrd="0" destOrd="0" presId="urn:microsoft.com/office/officeart/2008/layout/LinedList"/>
    <dgm:cxn modelId="{DE19ED82-E9FC-4573-B162-5463B28C0E22}" type="presParOf" srcId="{CF752DA2-BE35-4AD4-AF8E-D6E627456E56}" destId="{CFA844E9-E9A4-4339-87C7-8A7409610B5A}" srcOrd="1" destOrd="0" presId="urn:microsoft.com/office/officeart/2008/layout/LinedList"/>
    <dgm:cxn modelId="{23C55245-7B85-461D-AC20-9F8F8422060C}" type="presParOf" srcId="{0A3CF1F3-C4EB-44E1-B945-AB0CC09584A5}" destId="{C244273B-CE8E-4919-941A-B260279C5B54}" srcOrd="8" destOrd="0" presId="urn:microsoft.com/office/officeart/2008/layout/LinedList"/>
    <dgm:cxn modelId="{B4FE40C7-2CC5-44B1-93CB-C4E155AD2807}" type="presParOf" srcId="{0A3CF1F3-C4EB-44E1-B945-AB0CC09584A5}" destId="{BBB9186E-66F8-4F5B-9E71-7930627EB8AC}" srcOrd="9" destOrd="0" presId="urn:microsoft.com/office/officeart/2008/layout/LinedList"/>
    <dgm:cxn modelId="{1380DA1B-8816-47C4-8706-EA526C059B33}" type="presParOf" srcId="{BBB9186E-66F8-4F5B-9E71-7930627EB8AC}" destId="{CD7F02FD-CB65-47A6-8254-AED4021613BE}" srcOrd="0" destOrd="0" presId="urn:microsoft.com/office/officeart/2008/layout/LinedList"/>
    <dgm:cxn modelId="{55E2B1E8-53FB-425A-9E95-81CC4DB87372}" type="presParOf" srcId="{BBB9186E-66F8-4F5B-9E71-7930627EB8AC}" destId="{6FF20D5A-B033-4B93-AA7D-261724EC8063}" srcOrd="1" destOrd="0" presId="urn:microsoft.com/office/officeart/2008/layout/LinedList"/>
    <dgm:cxn modelId="{BB0BC2C2-5F22-42D5-AADC-09AC3B8511B1}" type="presParOf" srcId="{0A3CF1F3-C4EB-44E1-B945-AB0CC09584A5}" destId="{EF64DF17-E9B8-4D4B-9D44-8B6EB877C058}" srcOrd="10" destOrd="0" presId="urn:microsoft.com/office/officeart/2008/layout/LinedList"/>
    <dgm:cxn modelId="{535CF6EB-0B52-4182-9EBB-FE6490DE30F0}" type="presParOf" srcId="{0A3CF1F3-C4EB-44E1-B945-AB0CC09584A5}" destId="{01E629AB-DF85-4D68-8B19-20D682D56FE5}" srcOrd="11" destOrd="0" presId="urn:microsoft.com/office/officeart/2008/layout/LinedList"/>
    <dgm:cxn modelId="{D8E66F7F-0207-4DDD-AE3F-639959DAC8EE}" type="presParOf" srcId="{01E629AB-DF85-4D68-8B19-20D682D56FE5}" destId="{7EC3DE0A-9F3C-4835-9629-48832F678E1B}" srcOrd="0" destOrd="0" presId="urn:microsoft.com/office/officeart/2008/layout/LinedList"/>
    <dgm:cxn modelId="{9F0D8D3C-F826-4279-92BC-D3D6771DEE8B}" type="presParOf" srcId="{01E629AB-DF85-4D68-8B19-20D682D56FE5}" destId="{05DB5F15-CC83-4BB6-BDE8-E37AB0510CB5}" srcOrd="1" destOrd="0" presId="urn:microsoft.com/office/officeart/2008/layout/LinedList"/>
    <dgm:cxn modelId="{DDCEC1B3-7B08-45AE-BAA0-753ECFF2DA45}" type="presParOf" srcId="{0A3CF1F3-C4EB-44E1-B945-AB0CC09584A5}" destId="{9D72FC28-B1C1-429A-AECF-EA857DA8733F}" srcOrd="12" destOrd="0" presId="urn:microsoft.com/office/officeart/2008/layout/LinedList"/>
    <dgm:cxn modelId="{3682127D-4DD2-4DC7-AE05-AF282A7D1AA3}" type="presParOf" srcId="{0A3CF1F3-C4EB-44E1-B945-AB0CC09584A5}" destId="{62BC93E3-D7A5-4EF3-8075-8F6EC61D578B}" srcOrd="13" destOrd="0" presId="urn:microsoft.com/office/officeart/2008/layout/LinedList"/>
    <dgm:cxn modelId="{4C71A0E3-95F8-4E41-ACEC-68640751E560}" type="presParOf" srcId="{62BC93E3-D7A5-4EF3-8075-8F6EC61D578B}" destId="{0E61A89F-C752-45B7-9FF8-69422DB19B66}" srcOrd="0" destOrd="0" presId="urn:microsoft.com/office/officeart/2008/layout/LinedList"/>
    <dgm:cxn modelId="{F9D6C4CA-55DF-4AC1-ACD0-AA366AEDCA3D}" type="presParOf" srcId="{62BC93E3-D7A5-4EF3-8075-8F6EC61D578B}" destId="{8867B153-6B72-4D77-969A-18B89525FE4C}" srcOrd="1" destOrd="0" presId="urn:microsoft.com/office/officeart/2008/layout/LinedList"/>
    <dgm:cxn modelId="{3A3D4EF4-9480-4789-B4D4-66317CACCCD5}" type="presParOf" srcId="{0A3CF1F3-C4EB-44E1-B945-AB0CC09584A5}" destId="{F55A0AC0-43B4-4920-9BDA-7803FD7C9800}" srcOrd="14" destOrd="0" presId="urn:microsoft.com/office/officeart/2008/layout/LinedList"/>
    <dgm:cxn modelId="{F55CCB4D-698E-4627-9FFA-C2FE05238E39}" type="presParOf" srcId="{0A3CF1F3-C4EB-44E1-B945-AB0CC09584A5}" destId="{16793CF9-E2A6-40FB-8B26-180CFC55CE4D}" srcOrd="15" destOrd="0" presId="urn:microsoft.com/office/officeart/2008/layout/LinedList"/>
    <dgm:cxn modelId="{F3674F6E-5D27-4DF9-B54D-EC20F2577CF8}" type="presParOf" srcId="{16793CF9-E2A6-40FB-8B26-180CFC55CE4D}" destId="{877BE53A-E1F3-4855-9847-A562A558BAD5}" srcOrd="0" destOrd="0" presId="urn:microsoft.com/office/officeart/2008/layout/LinedList"/>
    <dgm:cxn modelId="{1FD3C55D-4A0C-47D6-B520-DE41FE3B2E91}" type="presParOf" srcId="{16793CF9-E2A6-40FB-8B26-180CFC55CE4D}" destId="{BB940DED-766B-4012-B0DB-BC88476422A8}" srcOrd="1" destOrd="0" presId="urn:microsoft.com/office/officeart/2008/layout/LinedList"/>
    <dgm:cxn modelId="{07881EB3-7458-480C-97F2-149A6C261E7A}" type="presParOf" srcId="{0A3CF1F3-C4EB-44E1-B945-AB0CC09584A5}" destId="{A2BB0196-E0DD-47E0-B473-8601001CFC15}" srcOrd="16" destOrd="0" presId="urn:microsoft.com/office/officeart/2008/layout/LinedList"/>
    <dgm:cxn modelId="{7BD5B453-57C9-49FD-B737-5F0CF5D51B7E}" type="presParOf" srcId="{0A3CF1F3-C4EB-44E1-B945-AB0CC09584A5}" destId="{E77DB9EE-C8F7-42BE-8A94-C57AC47F9EBB}" srcOrd="17" destOrd="0" presId="urn:microsoft.com/office/officeart/2008/layout/LinedList"/>
    <dgm:cxn modelId="{15E11A1D-2D83-4629-AD1D-C8363A4A05EE}" type="presParOf" srcId="{E77DB9EE-C8F7-42BE-8A94-C57AC47F9EBB}" destId="{D7820CAE-9A87-4857-9F4F-65C6E255FBD8}" srcOrd="0" destOrd="0" presId="urn:microsoft.com/office/officeart/2008/layout/LinedList"/>
    <dgm:cxn modelId="{F1E2B02B-A118-4890-98E2-0AF7EB406432}" type="presParOf" srcId="{E77DB9EE-C8F7-42BE-8A94-C57AC47F9EBB}" destId="{6DB89580-19C2-4764-9BC8-B382394D2865}" srcOrd="1" destOrd="0" presId="urn:microsoft.com/office/officeart/2008/layout/LinedList"/>
    <dgm:cxn modelId="{1E9F7B96-E13B-4710-9DB0-90583A5FE41D}" type="presParOf" srcId="{0A3CF1F3-C4EB-44E1-B945-AB0CC09584A5}" destId="{3A5097A5-DC56-4B41-AE8F-CC4B69A61CE7}" srcOrd="18" destOrd="0" presId="urn:microsoft.com/office/officeart/2008/layout/LinedList"/>
    <dgm:cxn modelId="{D73A1E09-F278-4F5B-836E-B297188EBE78}" type="presParOf" srcId="{0A3CF1F3-C4EB-44E1-B945-AB0CC09584A5}" destId="{294C7B7F-DC56-452A-817B-387A249BB7A2}" srcOrd="19" destOrd="0" presId="urn:microsoft.com/office/officeart/2008/layout/LinedList"/>
    <dgm:cxn modelId="{6EF2B300-0D8B-44D9-914A-4811304BB949}" type="presParOf" srcId="{294C7B7F-DC56-452A-817B-387A249BB7A2}" destId="{EDB1294A-5210-4B59-B333-26236138CA51}" srcOrd="0" destOrd="0" presId="urn:microsoft.com/office/officeart/2008/layout/LinedList"/>
    <dgm:cxn modelId="{452E8D5D-93C9-44B1-A161-8CB6985C22A1}" type="presParOf" srcId="{294C7B7F-DC56-452A-817B-387A249BB7A2}" destId="{2EE04B09-CD92-4052-84FE-EE798A0441CC}" srcOrd="1" destOrd="0" presId="urn:microsoft.com/office/officeart/2008/layout/LinedList"/>
    <dgm:cxn modelId="{545B66C5-F8F0-4AD7-81E3-E106DAA9EF3F}" type="presParOf" srcId="{0A3CF1F3-C4EB-44E1-B945-AB0CC09584A5}" destId="{1E5CD0A2-BBBE-4085-9093-863DC024EB45}" srcOrd="20" destOrd="0" presId="urn:microsoft.com/office/officeart/2008/layout/LinedList"/>
    <dgm:cxn modelId="{A7B04945-C0DB-45AF-BB14-DEC895B0C1EB}" type="presParOf" srcId="{0A3CF1F3-C4EB-44E1-B945-AB0CC09584A5}" destId="{D36E3BB0-3548-43F9-A260-CFB90275FA6F}" srcOrd="21" destOrd="0" presId="urn:microsoft.com/office/officeart/2008/layout/LinedList"/>
    <dgm:cxn modelId="{3025E8B3-07AB-4A16-B075-BBC371AB2E40}" type="presParOf" srcId="{D36E3BB0-3548-43F9-A260-CFB90275FA6F}" destId="{FB761A90-8403-4128-857C-CB36C75AFF38}" srcOrd="0" destOrd="0" presId="urn:microsoft.com/office/officeart/2008/layout/LinedList"/>
    <dgm:cxn modelId="{77303B66-1C0A-4DA7-97E0-198328084527}" type="presParOf" srcId="{D36E3BB0-3548-43F9-A260-CFB90275FA6F}" destId="{C2C1054A-F41A-42AD-BBCA-EC35DE2BBDF7}" srcOrd="1" destOrd="0" presId="urn:microsoft.com/office/officeart/2008/layout/LinedList"/>
    <dgm:cxn modelId="{7FC55151-42E4-43F2-B64C-E9C1EAF19BE0}" type="presParOf" srcId="{0A3CF1F3-C4EB-44E1-B945-AB0CC09584A5}" destId="{92909243-86BD-49C4-934F-56719D77D55B}" srcOrd="22" destOrd="0" presId="urn:microsoft.com/office/officeart/2008/layout/LinedList"/>
    <dgm:cxn modelId="{3AE75484-37DA-4737-9C98-5F003B6D92B6}" type="presParOf" srcId="{0A3CF1F3-C4EB-44E1-B945-AB0CC09584A5}" destId="{462F8580-0006-4057-A6EB-3892D70D627A}" srcOrd="23" destOrd="0" presId="urn:microsoft.com/office/officeart/2008/layout/LinedList"/>
    <dgm:cxn modelId="{42511C00-E1AC-4028-BEB6-54890E010830}" type="presParOf" srcId="{462F8580-0006-4057-A6EB-3892D70D627A}" destId="{C60B34FB-F048-47CD-995C-CE73BF97D978}" srcOrd="0" destOrd="0" presId="urn:microsoft.com/office/officeart/2008/layout/LinedList"/>
    <dgm:cxn modelId="{4D5BFD02-46E6-460A-9B6F-5C6AD05351A7}" type="presParOf" srcId="{462F8580-0006-4057-A6EB-3892D70D627A}" destId="{D7FF3F36-1055-4EAA-8823-A96E09329658}" srcOrd="1" destOrd="0" presId="urn:microsoft.com/office/officeart/2008/layout/LinedList"/>
    <dgm:cxn modelId="{FD1A3565-FBFF-4CC5-A9D9-641653758B2F}" type="presParOf" srcId="{0A3CF1F3-C4EB-44E1-B945-AB0CC09584A5}" destId="{7BC99CCF-DAC6-43E7-87B5-CFAE750835B5}" srcOrd="24" destOrd="0" presId="urn:microsoft.com/office/officeart/2008/layout/LinedList"/>
    <dgm:cxn modelId="{2F5F35F5-2686-4735-A29B-B83E169149C3}" type="presParOf" srcId="{0A3CF1F3-C4EB-44E1-B945-AB0CC09584A5}" destId="{757AE112-C62B-4FA9-B99D-215F65D26D5D}" srcOrd="25" destOrd="0" presId="urn:microsoft.com/office/officeart/2008/layout/LinedList"/>
    <dgm:cxn modelId="{D37D6847-D30E-4CFF-84EE-B58EDDDF2DDF}" type="presParOf" srcId="{757AE112-C62B-4FA9-B99D-215F65D26D5D}" destId="{49DDDDD3-2F15-41C9-9881-41FAE9B4D889}" srcOrd="0" destOrd="0" presId="urn:microsoft.com/office/officeart/2008/layout/LinedList"/>
    <dgm:cxn modelId="{C8A73310-70E5-44CA-B020-EC6C225B5C0F}" type="presParOf" srcId="{757AE112-C62B-4FA9-B99D-215F65D26D5D}" destId="{BC3F17D5-7B76-4B70-9002-CF50E03D7033}" srcOrd="1" destOrd="0" presId="urn:microsoft.com/office/officeart/2008/layout/Lin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2.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dgm:spPr/>
      <dgm:t>
        <a:bodyPr/>
        <a:lstStyle/>
        <a:p>
          <a:pPr rtl="0"/>
          <a:r>
            <a:rPr lang="it-IT" b="1" dirty="0" smtClean="0">
              <a:effectLst>
                <a:outerShdw blurRad="38100" dist="38100" dir="2700000" algn="tl">
                  <a:srgbClr val="000000">
                    <a:alpha val="43137"/>
                  </a:srgbClr>
                </a:outerShdw>
              </a:effectLst>
            </a:rPr>
            <a:t>1. Sistema produttivo</a:t>
          </a:r>
          <a:endParaRPr lang="it-IT"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C06FD467-205D-412D-923F-12D8664825F7}" type="presOf" srcId="{E4C7AF03-E2BD-4E48-8DAB-C1261D3D7EA9}" destId="{03DB856F-DE91-4CA0-AD05-B356DE21BFDC}" srcOrd="0" destOrd="0" presId="urn:microsoft.com/office/officeart/2005/8/layout/list1"/>
    <dgm:cxn modelId="{12FC2DC5-210D-4678-8646-B3B57DB1A359}" type="presOf" srcId="{188FD03C-7D6A-4D29-8FCB-9C1383057E36}" destId="{C08F212E-D010-4B1B-884C-243E8BB88BD2}" srcOrd="0" destOrd="0" presId="urn:microsoft.com/office/officeart/2005/8/layout/list1"/>
    <dgm:cxn modelId="{1E6C19E2-91CB-4FE5-87E4-62B9EB70C9E3}" type="presOf" srcId="{E4C7AF03-E2BD-4E48-8DAB-C1261D3D7EA9}" destId="{21D380AD-5D38-4835-9FB5-615E5454C686}" srcOrd="1"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E0BE6DB7-8F9C-4BB0-9A54-46B125A9B0A8}" type="presParOf" srcId="{C08F212E-D010-4B1B-884C-243E8BB88BD2}" destId="{A042C0D5-6636-40E8-83EA-703099528EDB}" srcOrd="0" destOrd="0" presId="urn:microsoft.com/office/officeart/2005/8/layout/list1"/>
    <dgm:cxn modelId="{6D039736-21B0-4337-AFDF-8332F75343FA}" type="presParOf" srcId="{A042C0D5-6636-40E8-83EA-703099528EDB}" destId="{03DB856F-DE91-4CA0-AD05-B356DE21BFDC}" srcOrd="0" destOrd="0" presId="urn:microsoft.com/office/officeart/2005/8/layout/list1"/>
    <dgm:cxn modelId="{6C1AAED2-D8F2-4314-BD52-2FA6137D1FB5}" type="presParOf" srcId="{A042C0D5-6636-40E8-83EA-703099528EDB}" destId="{21D380AD-5D38-4835-9FB5-615E5454C686}" srcOrd="1" destOrd="0" presId="urn:microsoft.com/office/officeart/2005/8/layout/list1"/>
    <dgm:cxn modelId="{D3530998-620B-472D-BB75-8A08FFDBC9FA}" type="presParOf" srcId="{C08F212E-D010-4B1B-884C-243E8BB88BD2}" destId="{E77B3B8A-36B6-4AF7-9D59-DF889FA8E07C}" srcOrd="1" destOrd="0" presId="urn:microsoft.com/office/officeart/2005/8/layout/list1"/>
    <dgm:cxn modelId="{184DA5B0-D20B-4FA3-9E56-5CB39842C69A}"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83.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La posizione competitiva della Sicilia</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7D061741-4CB6-444F-A3CD-D4700DB962AB}" type="presOf" srcId="{9AF403A6-2C5C-4F1B-B787-47496D3DBC71}" destId="{639FA514-32E4-4E31-8688-3C040A3F30E9}" srcOrd="0" destOrd="0" presId="urn:microsoft.com/office/officeart/2005/8/layout/chevronAccent+Icon"/>
    <dgm:cxn modelId="{B49248B4-D3B9-4B7C-93D7-BE36720800D5}" type="presOf" srcId="{72D59079-C521-4525-81A4-701D931A8233}" destId="{9CE9EFE3-4E69-404A-8A99-59388A9E3922}" srcOrd="0" destOrd="0" presId="urn:microsoft.com/office/officeart/2005/8/layout/chevronAccent+Icon"/>
    <dgm:cxn modelId="{3C93A4DA-E310-4A56-B7B4-5A726B3DCB47}" type="presParOf" srcId="{639FA514-32E4-4E31-8688-3C040A3F30E9}" destId="{F100BA9B-D4E3-421F-B5D8-42E4C50A115C}" srcOrd="0" destOrd="0" presId="urn:microsoft.com/office/officeart/2005/8/layout/chevronAccent+Icon"/>
    <dgm:cxn modelId="{E5E4C0FE-D08E-49BE-B33B-9D05FC301789}" type="presParOf" srcId="{F100BA9B-D4E3-421F-B5D8-42E4C50A115C}" destId="{51AD98A5-0898-43D1-8FB1-9AA58104A73C}" srcOrd="0" destOrd="0" presId="urn:microsoft.com/office/officeart/2005/8/layout/chevronAccent+Icon"/>
    <dgm:cxn modelId="{C07C76AB-57EA-4B7B-B034-8A9877E8787B}"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84.xml><?xml version="1.0" encoding="utf-8"?>
<dgm:dataModel xmlns:dgm="http://schemas.openxmlformats.org/drawingml/2006/diagram" xmlns:a="http://schemas.openxmlformats.org/drawingml/2006/main">
  <dgm:ptLst>
    <dgm:pt modelId="{8E56971A-A46B-48DB-BF64-101913E87D2E}"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it-IT"/>
        </a:p>
      </dgm:t>
    </dgm:pt>
    <dgm:pt modelId="{2AFDC551-11B8-49E7-9B4A-3644A80859F3}" type="pres">
      <dgm:prSet presAssocID="{8E56971A-A46B-48DB-BF64-101913E87D2E}" presName="linear" presStyleCnt="0">
        <dgm:presLayoutVars>
          <dgm:animLvl val="lvl"/>
          <dgm:resizeHandles val="exact"/>
        </dgm:presLayoutVars>
      </dgm:prSet>
      <dgm:spPr/>
      <dgm:t>
        <a:bodyPr/>
        <a:lstStyle/>
        <a:p>
          <a:endParaRPr lang="it-IT"/>
        </a:p>
      </dgm:t>
    </dgm:pt>
  </dgm:ptLst>
  <dgm:cxnLst>
    <dgm:cxn modelId="{F7FC3B66-2D51-435E-AC8B-303C2A6AA57F}" type="presOf" srcId="{8E56971A-A46B-48DB-BF64-101913E87D2E}" destId="{2AFDC551-11B8-49E7-9B4A-3644A80859F3}"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5.xml><?xml version="1.0" encoding="utf-8"?>
<dgm:dataModel xmlns:dgm="http://schemas.openxmlformats.org/drawingml/2006/diagram" xmlns:a="http://schemas.openxmlformats.org/drawingml/2006/main">
  <dgm:ptLst>
    <dgm:pt modelId="{B29D2BF4-B0E9-4C60-8984-6DC3C2949F77}" type="doc">
      <dgm:prSet loTypeId="urn:microsoft.com/office/officeart/2008/layout/LinedList" loCatId="list" qsTypeId="urn:microsoft.com/office/officeart/2005/8/quickstyle/simple1" qsCatId="simple" csTypeId="urn:microsoft.com/office/officeart/2005/8/colors/accent6_2" csCatId="accent6" phldr="1"/>
      <dgm:spPr/>
      <dgm:t>
        <a:bodyPr/>
        <a:lstStyle/>
        <a:p>
          <a:endParaRPr lang="it-IT"/>
        </a:p>
      </dgm:t>
    </dgm:pt>
    <dgm:pt modelId="{D1C556C3-B8F2-4FAF-AE0E-A4924D4EA6B5}">
      <dgm:prSet custT="1"/>
      <dgm:spPr/>
      <dgm:t>
        <a:bodyPr/>
        <a:lstStyle/>
        <a:p>
          <a:pPr algn="just" rtl="0"/>
          <a:r>
            <a:rPr lang="it-IT" sz="1400" b="1" dirty="0" smtClean="0"/>
            <a:t>A partire dal 2010 anche i flussi turistici verso la Sicilia vedono un'inversione della tendenza negativa</a:t>
          </a:r>
        </a:p>
      </dgm:t>
    </dgm:pt>
    <dgm:pt modelId="{17F45286-EE6D-4595-835E-DE9B6F5C112A}" type="parTrans" cxnId="{8794D976-0173-4ADF-AD8C-EA69130E92A3}">
      <dgm:prSet/>
      <dgm:spPr/>
      <dgm:t>
        <a:bodyPr/>
        <a:lstStyle/>
        <a:p>
          <a:endParaRPr lang="it-IT"/>
        </a:p>
      </dgm:t>
    </dgm:pt>
    <dgm:pt modelId="{161F17BE-778F-479C-88B1-6070E20EC955}" type="sibTrans" cxnId="{8794D976-0173-4ADF-AD8C-EA69130E92A3}">
      <dgm:prSet/>
      <dgm:spPr/>
      <dgm:t>
        <a:bodyPr/>
        <a:lstStyle/>
        <a:p>
          <a:endParaRPr lang="it-IT"/>
        </a:p>
      </dgm:t>
    </dgm:pt>
    <dgm:pt modelId="{C94A9CAF-B5C5-469C-914A-ABCF54753A06}">
      <dgm:prSet custT="1"/>
      <dgm:spPr/>
      <dgm:t>
        <a:bodyPr/>
        <a:lstStyle/>
        <a:p>
          <a:pPr algn="just"/>
          <a:r>
            <a:rPr lang="it-IT" sz="1400" b="1" dirty="0" smtClean="0"/>
            <a:t>Nel 2012 la Sicilia è la prima regione del Mezzogiorno per arrivi turistici presso le città di interesse storico e artistico</a:t>
          </a:r>
          <a:endParaRPr lang="it-IT" sz="1400" b="1" dirty="0"/>
        </a:p>
      </dgm:t>
    </dgm:pt>
    <dgm:pt modelId="{E2B6C911-97E8-4B51-8439-E6B7E1248F0B}" type="parTrans" cxnId="{34F14090-26E1-4517-B9F6-9D4B569B0CA1}">
      <dgm:prSet/>
      <dgm:spPr/>
      <dgm:t>
        <a:bodyPr/>
        <a:lstStyle/>
        <a:p>
          <a:endParaRPr lang="it-IT"/>
        </a:p>
      </dgm:t>
    </dgm:pt>
    <dgm:pt modelId="{0776038A-39EE-48AE-805B-3259AFBA0C53}" type="sibTrans" cxnId="{34F14090-26E1-4517-B9F6-9D4B569B0CA1}">
      <dgm:prSet/>
      <dgm:spPr/>
      <dgm:t>
        <a:bodyPr/>
        <a:lstStyle/>
        <a:p>
          <a:endParaRPr lang="it-IT"/>
        </a:p>
      </dgm:t>
    </dgm:pt>
    <dgm:pt modelId="{7D6325D1-673D-4D00-AAFF-B3217B38526E}">
      <dgm:prSet custT="1"/>
      <dgm:spPr/>
      <dgm:t>
        <a:bodyPr/>
        <a:lstStyle/>
        <a:p>
          <a:pPr algn="just"/>
          <a:r>
            <a:rPr lang="it-IT" sz="1400" b="1" dirty="0" smtClean="0"/>
            <a:t>Aumenta del 21,8% (5,6% nel 2011) la spesa complessivamente effettuata dai turisti stranieri;</a:t>
          </a:r>
          <a:endParaRPr lang="it-IT" sz="1400" b="1" dirty="0"/>
        </a:p>
      </dgm:t>
    </dgm:pt>
    <dgm:pt modelId="{2DEF767C-AA06-4AC9-AF7F-834AF9A58832}" type="parTrans" cxnId="{8FB4CE13-24BF-451E-8781-5AD17FC790F5}">
      <dgm:prSet/>
      <dgm:spPr/>
      <dgm:t>
        <a:bodyPr/>
        <a:lstStyle/>
        <a:p>
          <a:endParaRPr lang="it-IT"/>
        </a:p>
      </dgm:t>
    </dgm:pt>
    <dgm:pt modelId="{93C132E6-98DE-41C0-9BE0-D61307145552}" type="sibTrans" cxnId="{8FB4CE13-24BF-451E-8781-5AD17FC790F5}">
      <dgm:prSet/>
      <dgm:spPr/>
      <dgm:t>
        <a:bodyPr/>
        <a:lstStyle/>
        <a:p>
          <a:endParaRPr lang="it-IT"/>
        </a:p>
      </dgm:t>
    </dgm:pt>
    <dgm:pt modelId="{7460A1F6-5755-42CA-B8AC-13E83772F24F}">
      <dgm:prSet custT="1"/>
      <dgm:spPr/>
      <dgm:t>
        <a:bodyPr/>
        <a:lstStyle/>
        <a:p>
          <a:pPr algn="just"/>
          <a:r>
            <a:rPr lang="it-IT" sz="1400" b="1" dirty="0" smtClean="0"/>
            <a:t>Cresce il numero delle imprese turistiche di quasi il 4% e quello degli addetti di oltre il 9%</a:t>
          </a:r>
          <a:endParaRPr lang="it-IT" sz="1400" b="1" dirty="0"/>
        </a:p>
      </dgm:t>
    </dgm:pt>
    <dgm:pt modelId="{CA0CB7D5-3047-4B30-AE15-3E16644BF416}" type="parTrans" cxnId="{EE4789AA-7D0F-4E5B-A99B-642FD07340A8}">
      <dgm:prSet/>
      <dgm:spPr/>
      <dgm:t>
        <a:bodyPr/>
        <a:lstStyle/>
        <a:p>
          <a:endParaRPr lang="it-IT"/>
        </a:p>
      </dgm:t>
    </dgm:pt>
    <dgm:pt modelId="{86958B2F-5C2C-44E7-8175-9913ACEF89F4}" type="sibTrans" cxnId="{EE4789AA-7D0F-4E5B-A99B-642FD07340A8}">
      <dgm:prSet/>
      <dgm:spPr/>
      <dgm:t>
        <a:bodyPr/>
        <a:lstStyle/>
        <a:p>
          <a:endParaRPr lang="it-IT"/>
        </a:p>
      </dgm:t>
    </dgm:pt>
    <dgm:pt modelId="{27FDC148-A0A6-4B78-B571-8A5306F02B3D}">
      <dgm:prSet custT="1"/>
      <dgm:spPr/>
      <dgm:t>
        <a:bodyPr/>
        <a:lstStyle/>
        <a:p>
          <a:pPr algn="just"/>
          <a:r>
            <a:rPr lang="it-IT" sz="1400" b="1" dirty="0" smtClean="0"/>
            <a:t>Aumentano le strutture complementari a quelle alberghiere (4,6 per cento) e il numero di pernottamenti negli alberghi (0,7%). </a:t>
          </a:r>
          <a:endParaRPr lang="it-IT" sz="1400" b="1" dirty="0"/>
        </a:p>
      </dgm:t>
    </dgm:pt>
    <dgm:pt modelId="{BCAFE56E-709E-4DE6-A31F-73E475DCE22A}" type="parTrans" cxnId="{31D0F37F-5953-426A-89DB-C18DEC790A7C}">
      <dgm:prSet/>
      <dgm:spPr/>
      <dgm:t>
        <a:bodyPr/>
        <a:lstStyle/>
        <a:p>
          <a:endParaRPr lang="it-IT"/>
        </a:p>
      </dgm:t>
    </dgm:pt>
    <dgm:pt modelId="{82092AE8-CFAD-4BA5-B2B2-D47052ED7BA0}" type="sibTrans" cxnId="{31D0F37F-5953-426A-89DB-C18DEC790A7C}">
      <dgm:prSet/>
      <dgm:spPr/>
      <dgm:t>
        <a:bodyPr/>
        <a:lstStyle/>
        <a:p>
          <a:endParaRPr lang="it-IT"/>
        </a:p>
      </dgm:t>
    </dgm:pt>
    <dgm:pt modelId="{13EFC2E7-3974-439C-BEE9-4B2713D2E5E6}">
      <dgm:prSet custT="1"/>
      <dgm:spPr/>
      <dgm:t>
        <a:bodyPr/>
        <a:lstStyle/>
        <a:p>
          <a:pPr algn="just"/>
          <a:r>
            <a:rPr lang="it-IT" sz="1400" b="1" dirty="0" smtClean="0"/>
            <a:t>Le imprese turistiche (il 32% sono femminili e più del 21% sono giovanili) lasciano intravedere nuovi dinamismi</a:t>
          </a:r>
          <a:r>
            <a:rPr lang="it-IT" sz="1200" b="1" dirty="0" smtClean="0"/>
            <a:t>.</a:t>
          </a:r>
          <a:endParaRPr lang="it-IT" sz="1200" b="1" dirty="0"/>
        </a:p>
      </dgm:t>
    </dgm:pt>
    <dgm:pt modelId="{9E6C0DD1-A976-4996-ABE4-B48E3CD23DF1}" type="parTrans" cxnId="{90D096F5-4777-4C40-84CF-11E6FF31095A}">
      <dgm:prSet/>
      <dgm:spPr/>
      <dgm:t>
        <a:bodyPr/>
        <a:lstStyle/>
        <a:p>
          <a:endParaRPr lang="it-IT"/>
        </a:p>
      </dgm:t>
    </dgm:pt>
    <dgm:pt modelId="{8E029405-4FCC-492C-A309-35B56DFF912D}" type="sibTrans" cxnId="{90D096F5-4777-4C40-84CF-11E6FF31095A}">
      <dgm:prSet/>
      <dgm:spPr/>
      <dgm:t>
        <a:bodyPr/>
        <a:lstStyle/>
        <a:p>
          <a:endParaRPr lang="it-IT"/>
        </a:p>
      </dgm:t>
    </dgm:pt>
    <dgm:pt modelId="{A01894F3-0E33-4336-86EB-7A4988272ED3}">
      <dgm:prSet custT="1"/>
      <dgm:spPr/>
      <dgm:t>
        <a:bodyPr/>
        <a:lstStyle/>
        <a:p>
          <a:pPr algn="just" rtl="0"/>
          <a:r>
            <a:rPr lang="it-IT" sz="1400" b="1" dirty="0" smtClean="0"/>
            <a:t>Anche i pernottamenti complessivamente effettuati sono cresciuti dell’1,4% pur registrando una riduzione del ritmo di crescita (3,9% nel 2011). Crescono le  presenze di stranieri (2,9% nel 2011; 6,8 % del 2012) mentre le presenze di italiani diminuiscono del 2,6%</a:t>
          </a:r>
          <a:endParaRPr lang="it-IT" sz="1400" b="1" dirty="0"/>
        </a:p>
      </dgm:t>
    </dgm:pt>
    <dgm:pt modelId="{568B0B9F-E882-4C87-83F1-C788C97BEA9E}" type="parTrans" cxnId="{C5B450C0-8D30-4BCD-98CD-BEE6182E2B13}">
      <dgm:prSet/>
      <dgm:spPr/>
      <dgm:t>
        <a:bodyPr/>
        <a:lstStyle/>
        <a:p>
          <a:endParaRPr lang="it-IT"/>
        </a:p>
      </dgm:t>
    </dgm:pt>
    <dgm:pt modelId="{03C76FF4-1BF2-4466-AB5F-F6F1D4FFD5C1}" type="sibTrans" cxnId="{C5B450C0-8D30-4BCD-98CD-BEE6182E2B13}">
      <dgm:prSet/>
      <dgm:spPr/>
      <dgm:t>
        <a:bodyPr/>
        <a:lstStyle/>
        <a:p>
          <a:endParaRPr lang="it-IT"/>
        </a:p>
      </dgm:t>
    </dgm:pt>
    <dgm:pt modelId="{4FA51E9A-27A9-4351-A48F-C693E3C1694C}">
      <dgm:prSet custT="1"/>
      <dgm:spPr/>
      <dgm:t>
        <a:bodyPr/>
        <a:lstStyle/>
        <a:p>
          <a:pPr algn="just" rtl="0"/>
          <a:r>
            <a:rPr lang="it-IT" sz="1400" b="1" dirty="0" smtClean="0"/>
            <a:t>Nel 2012 in base ai dati dell’Osservatorio turistico della Regione Siciliana, gli arrivi di turisti sono aumentati del 2,8 per cento, in rallentamento rispetto al 2011 (5,4 %). (verificare l'esistenza di dati più aggiornati)</a:t>
          </a:r>
          <a:endParaRPr lang="it-IT" sz="1400" b="1" dirty="0"/>
        </a:p>
      </dgm:t>
    </dgm:pt>
    <dgm:pt modelId="{132E03D8-C80C-4F92-AF70-4ABF803BC6C4}" type="parTrans" cxnId="{34331B89-96A3-46FF-ADC0-54508CF52439}">
      <dgm:prSet/>
      <dgm:spPr/>
      <dgm:t>
        <a:bodyPr/>
        <a:lstStyle/>
        <a:p>
          <a:endParaRPr lang="it-IT"/>
        </a:p>
      </dgm:t>
    </dgm:pt>
    <dgm:pt modelId="{E65644F8-478A-4FA4-BCAB-78798222D5DB}" type="sibTrans" cxnId="{34331B89-96A3-46FF-ADC0-54508CF52439}">
      <dgm:prSet/>
      <dgm:spPr/>
      <dgm:t>
        <a:bodyPr/>
        <a:lstStyle/>
        <a:p>
          <a:endParaRPr lang="it-IT"/>
        </a:p>
      </dgm:t>
    </dgm:pt>
    <dgm:pt modelId="{0A3CF1F3-C4EB-44E1-B945-AB0CC09584A5}" type="pres">
      <dgm:prSet presAssocID="{B29D2BF4-B0E9-4C60-8984-6DC3C2949F77}" presName="vert0" presStyleCnt="0">
        <dgm:presLayoutVars>
          <dgm:dir/>
          <dgm:animOne val="branch"/>
          <dgm:animLvl val="lvl"/>
        </dgm:presLayoutVars>
      </dgm:prSet>
      <dgm:spPr/>
      <dgm:t>
        <a:bodyPr/>
        <a:lstStyle/>
        <a:p>
          <a:endParaRPr lang="it-IT"/>
        </a:p>
      </dgm:t>
    </dgm:pt>
    <dgm:pt modelId="{4CE77284-B9F8-446A-9F18-04F1EDF2DFFE}" type="pres">
      <dgm:prSet presAssocID="{D1C556C3-B8F2-4FAF-AE0E-A4924D4EA6B5}" presName="thickLine" presStyleLbl="alignNode1" presStyleIdx="0" presStyleCnt="8"/>
      <dgm:spPr/>
    </dgm:pt>
    <dgm:pt modelId="{4A0D61BB-8E41-4FEC-BEE9-B502429F6856}" type="pres">
      <dgm:prSet presAssocID="{D1C556C3-B8F2-4FAF-AE0E-A4924D4EA6B5}" presName="horz1" presStyleCnt="0"/>
      <dgm:spPr/>
    </dgm:pt>
    <dgm:pt modelId="{DD6F42CC-5201-4CF0-B2C1-49C4DC3C24FA}" type="pres">
      <dgm:prSet presAssocID="{D1C556C3-B8F2-4FAF-AE0E-A4924D4EA6B5}" presName="tx1" presStyleLbl="revTx" presStyleIdx="0" presStyleCnt="8" custScaleY="86597"/>
      <dgm:spPr/>
      <dgm:t>
        <a:bodyPr/>
        <a:lstStyle/>
        <a:p>
          <a:endParaRPr lang="it-IT"/>
        </a:p>
      </dgm:t>
    </dgm:pt>
    <dgm:pt modelId="{7BC15B5A-1095-4FEC-92FB-0D22F2F577EB}" type="pres">
      <dgm:prSet presAssocID="{D1C556C3-B8F2-4FAF-AE0E-A4924D4EA6B5}" presName="vert1" presStyleCnt="0"/>
      <dgm:spPr/>
    </dgm:pt>
    <dgm:pt modelId="{88D98918-F405-482F-8347-02E010103853}" type="pres">
      <dgm:prSet presAssocID="{4FA51E9A-27A9-4351-A48F-C693E3C1694C}" presName="thickLine" presStyleLbl="alignNode1" presStyleIdx="1" presStyleCnt="8"/>
      <dgm:spPr/>
    </dgm:pt>
    <dgm:pt modelId="{5AFB922C-3D34-4B91-B67C-B05D6F6E50C9}" type="pres">
      <dgm:prSet presAssocID="{4FA51E9A-27A9-4351-A48F-C693E3C1694C}" presName="horz1" presStyleCnt="0"/>
      <dgm:spPr/>
    </dgm:pt>
    <dgm:pt modelId="{3A4EF40B-E54C-477E-972D-8DD794F44689}" type="pres">
      <dgm:prSet presAssocID="{4FA51E9A-27A9-4351-A48F-C693E3C1694C}" presName="tx1" presStyleLbl="revTx" presStyleIdx="1" presStyleCnt="8" custScaleY="129952"/>
      <dgm:spPr/>
      <dgm:t>
        <a:bodyPr/>
        <a:lstStyle/>
        <a:p>
          <a:endParaRPr lang="it-IT"/>
        </a:p>
      </dgm:t>
    </dgm:pt>
    <dgm:pt modelId="{D83ABC91-6BF5-4792-8A94-A9A3F4ACD381}" type="pres">
      <dgm:prSet presAssocID="{4FA51E9A-27A9-4351-A48F-C693E3C1694C}" presName="vert1" presStyleCnt="0"/>
      <dgm:spPr/>
    </dgm:pt>
    <dgm:pt modelId="{1D35C8DC-8FC7-4ABA-B79E-0CA568688893}" type="pres">
      <dgm:prSet presAssocID="{A01894F3-0E33-4336-86EB-7A4988272ED3}" presName="thickLine" presStyleLbl="alignNode1" presStyleIdx="2" presStyleCnt="8"/>
      <dgm:spPr/>
    </dgm:pt>
    <dgm:pt modelId="{5014B2A2-F38D-4A31-B9C1-72741ADE397A}" type="pres">
      <dgm:prSet presAssocID="{A01894F3-0E33-4336-86EB-7A4988272ED3}" presName="horz1" presStyleCnt="0"/>
      <dgm:spPr/>
    </dgm:pt>
    <dgm:pt modelId="{E0A781F1-6657-4057-B1AC-9B6A20EA101A}" type="pres">
      <dgm:prSet presAssocID="{A01894F3-0E33-4336-86EB-7A4988272ED3}" presName="tx1" presStyleLbl="revTx" presStyleIdx="2" presStyleCnt="8" custScaleY="129952"/>
      <dgm:spPr/>
      <dgm:t>
        <a:bodyPr/>
        <a:lstStyle/>
        <a:p>
          <a:endParaRPr lang="it-IT"/>
        </a:p>
      </dgm:t>
    </dgm:pt>
    <dgm:pt modelId="{D8262919-DBCE-4502-8AE9-DAA1E6DAED53}" type="pres">
      <dgm:prSet presAssocID="{A01894F3-0E33-4336-86EB-7A4988272ED3}" presName="vert1" presStyleCnt="0"/>
      <dgm:spPr/>
    </dgm:pt>
    <dgm:pt modelId="{F027CFAF-16D8-43B1-9B17-4A4E509C6631}" type="pres">
      <dgm:prSet presAssocID="{C94A9CAF-B5C5-469C-914A-ABCF54753A06}" presName="thickLine" presStyleLbl="alignNode1" presStyleIdx="3" presStyleCnt="8"/>
      <dgm:spPr/>
    </dgm:pt>
    <dgm:pt modelId="{EB94C150-0515-4E04-86A4-D4AE087B8FF8}" type="pres">
      <dgm:prSet presAssocID="{C94A9CAF-B5C5-469C-914A-ABCF54753A06}" presName="horz1" presStyleCnt="0"/>
      <dgm:spPr/>
    </dgm:pt>
    <dgm:pt modelId="{64314EE4-E337-4381-B5DE-F1EE207775DF}" type="pres">
      <dgm:prSet presAssocID="{C94A9CAF-B5C5-469C-914A-ABCF54753A06}" presName="tx1" presStyleLbl="revTx" presStyleIdx="3" presStyleCnt="8" custScaleY="94364"/>
      <dgm:spPr/>
      <dgm:t>
        <a:bodyPr/>
        <a:lstStyle/>
        <a:p>
          <a:endParaRPr lang="it-IT"/>
        </a:p>
      </dgm:t>
    </dgm:pt>
    <dgm:pt modelId="{2A2EAC68-A2D8-4D4E-855B-988F2E7255E5}" type="pres">
      <dgm:prSet presAssocID="{C94A9CAF-B5C5-469C-914A-ABCF54753A06}" presName="vert1" presStyleCnt="0"/>
      <dgm:spPr/>
    </dgm:pt>
    <dgm:pt modelId="{8881A881-94F3-474E-B7DE-68596018263B}" type="pres">
      <dgm:prSet presAssocID="{7D6325D1-673D-4D00-AAFF-B3217B38526E}" presName="thickLine" presStyleLbl="alignNode1" presStyleIdx="4" presStyleCnt="8"/>
      <dgm:spPr/>
    </dgm:pt>
    <dgm:pt modelId="{CA093278-9D24-40E1-A50F-663D13EF52DB}" type="pres">
      <dgm:prSet presAssocID="{7D6325D1-673D-4D00-AAFF-B3217B38526E}" presName="horz1" presStyleCnt="0"/>
      <dgm:spPr/>
    </dgm:pt>
    <dgm:pt modelId="{5768819A-C1C1-4E12-B971-79876A147E18}" type="pres">
      <dgm:prSet presAssocID="{7D6325D1-673D-4D00-AAFF-B3217B38526E}" presName="tx1" presStyleLbl="revTx" presStyleIdx="4" presStyleCnt="8" custScaleY="83779"/>
      <dgm:spPr/>
      <dgm:t>
        <a:bodyPr/>
        <a:lstStyle/>
        <a:p>
          <a:endParaRPr lang="it-IT"/>
        </a:p>
      </dgm:t>
    </dgm:pt>
    <dgm:pt modelId="{F9831D3B-9CDF-44F1-8B87-11073CAD7586}" type="pres">
      <dgm:prSet presAssocID="{7D6325D1-673D-4D00-AAFF-B3217B38526E}" presName="vert1" presStyleCnt="0"/>
      <dgm:spPr/>
    </dgm:pt>
    <dgm:pt modelId="{3C3FF6BE-6905-411C-B937-9FB5AFDE8B0B}" type="pres">
      <dgm:prSet presAssocID="{7460A1F6-5755-42CA-B8AC-13E83772F24F}" presName="thickLine" presStyleLbl="alignNode1" presStyleIdx="5" presStyleCnt="8"/>
      <dgm:spPr/>
    </dgm:pt>
    <dgm:pt modelId="{EA7F0076-5250-4849-98A8-B28CD8025898}" type="pres">
      <dgm:prSet presAssocID="{7460A1F6-5755-42CA-B8AC-13E83772F24F}" presName="horz1" presStyleCnt="0"/>
      <dgm:spPr/>
    </dgm:pt>
    <dgm:pt modelId="{A5D08EB0-0489-4062-97EE-86882970630D}" type="pres">
      <dgm:prSet presAssocID="{7460A1F6-5755-42CA-B8AC-13E83772F24F}" presName="tx1" presStyleLbl="revTx" presStyleIdx="5" presStyleCnt="8" custScaleY="77095"/>
      <dgm:spPr/>
      <dgm:t>
        <a:bodyPr/>
        <a:lstStyle/>
        <a:p>
          <a:endParaRPr lang="it-IT"/>
        </a:p>
      </dgm:t>
    </dgm:pt>
    <dgm:pt modelId="{4BEAB6D3-5DA4-459D-93CD-F747F5415534}" type="pres">
      <dgm:prSet presAssocID="{7460A1F6-5755-42CA-B8AC-13E83772F24F}" presName="vert1" presStyleCnt="0"/>
      <dgm:spPr/>
    </dgm:pt>
    <dgm:pt modelId="{D3FDF30C-D8C9-4A13-B667-3327485CB1F3}" type="pres">
      <dgm:prSet presAssocID="{27FDC148-A0A6-4B78-B571-8A5306F02B3D}" presName="thickLine" presStyleLbl="alignNode1" presStyleIdx="6" presStyleCnt="8"/>
      <dgm:spPr/>
    </dgm:pt>
    <dgm:pt modelId="{ACEEB278-B771-47E1-872A-B29611A22D62}" type="pres">
      <dgm:prSet presAssocID="{27FDC148-A0A6-4B78-B571-8A5306F02B3D}" presName="horz1" presStyleCnt="0"/>
      <dgm:spPr/>
    </dgm:pt>
    <dgm:pt modelId="{0F3EC5FE-DBDA-4AAE-B397-DA54A0B4FC8B}" type="pres">
      <dgm:prSet presAssocID="{27FDC148-A0A6-4B78-B571-8A5306F02B3D}" presName="tx1" presStyleLbl="revTx" presStyleIdx="6" presStyleCnt="8" custScaleY="102723"/>
      <dgm:spPr/>
      <dgm:t>
        <a:bodyPr/>
        <a:lstStyle/>
        <a:p>
          <a:endParaRPr lang="it-IT"/>
        </a:p>
      </dgm:t>
    </dgm:pt>
    <dgm:pt modelId="{A6234937-5605-4326-8BAF-4C39B30F3DDD}" type="pres">
      <dgm:prSet presAssocID="{27FDC148-A0A6-4B78-B571-8A5306F02B3D}" presName="vert1" presStyleCnt="0"/>
      <dgm:spPr/>
    </dgm:pt>
    <dgm:pt modelId="{7A12476A-742F-4511-A7BA-469B584516CF}" type="pres">
      <dgm:prSet presAssocID="{13EFC2E7-3974-439C-BEE9-4B2713D2E5E6}" presName="thickLine" presStyleLbl="alignNode1" presStyleIdx="7" presStyleCnt="8"/>
      <dgm:spPr/>
    </dgm:pt>
    <dgm:pt modelId="{73E8D4FF-38DF-4177-AD1A-20AAB21FF5A1}" type="pres">
      <dgm:prSet presAssocID="{13EFC2E7-3974-439C-BEE9-4B2713D2E5E6}" presName="horz1" presStyleCnt="0"/>
      <dgm:spPr/>
    </dgm:pt>
    <dgm:pt modelId="{87E4686E-0742-483E-A67D-04D8FB717C51}" type="pres">
      <dgm:prSet presAssocID="{13EFC2E7-3974-439C-BEE9-4B2713D2E5E6}" presName="tx1" presStyleLbl="revTx" presStyleIdx="7" presStyleCnt="8" custScaleY="68908"/>
      <dgm:spPr/>
      <dgm:t>
        <a:bodyPr/>
        <a:lstStyle/>
        <a:p>
          <a:endParaRPr lang="it-IT"/>
        </a:p>
      </dgm:t>
    </dgm:pt>
    <dgm:pt modelId="{991639F8-06FB-4271-B282-5A7FEE368C75}" type="pres">
      <dgm:prSet presAssocID="{13EFC2E7-3974-439C-BEE9-4B2713D2E5E6}" presName="vert1" presStyleCnt="0"/>
      <dgm:spPr/>
    </dgm:pt>
  </dgm:ptLst>
  <dgm:cxnLst>
    <dgm:cxn modelId="{E221A322-F75A-42FC-BDEF-047664D12402}" type="presOf" srcId="{27FDC148-A0A6-4B78-B571-8A5306F02B3D}" destId="{0F3EC5FE-DBDA-4AAE-B397-DA54A0B4FC8B}" srcOrd="0" destOrd="0" presId="urn:microsoft.com/office/officeart/2008/layout/LinedList"/>
    <dgm:cxn modelId="{2D7F9306-879B-4293-9888-92CE5D3F0E43}" type="presOf" srcId="{4FA51E9A-27A9-4351-A48F-C693E3C1694C}" destId="{3A4EF40B-E54C-477E-972D-8DD794F44689}" srcOrd="0" destOrd="0" presId="urn:microsoft.com/office/officeart/2008/layout/LinedList"/>
    <dgm:cxn modelId="{4A3146B1-E593-4941-9665-33DE139649A3}" type="presOf" srcId="{D1C556C3-B8F2-4FAF-AE0E-A4924D4EA6B5}" destId="{DD6F42CC-5201-4CF0-B2C1-49C4DC3C24FA}" srcOrd="0" destOrd="0" presId="urn:microsoft.com/office/officeart/2008/layout/LinedList"/>
    <dgm:cxn modelId="{8FB4CE13-24BF-451E-8781-5AD17FC790F5}" srcId="{B29D2BF4-B0E9-4C60-8984-6DC3C2949F77}" destId="{7D6325D1-673D-4D00-AAFF-B3217B38526E}" srcOrd="4" destOrd="0" parTransId="{2DEF767C-AA06-4AC9-AF7F-834AF9A58832}" sibTransId="{93C132E6-98DE-41C0-9BE0-D61307145552}"/>
    <dgm:cxn modelId="{34F14090-26E1-4517-B9F6-9D4B569B0CA1}" srcId="{B29D2BF4-B0E9-4C60-8984-6DC3C2949F77}" destId="{C94A9CAF-B5C5-469C-914A-ABCF54753A06}" srcOrd="3" destOrd="0" parTransId="{E2B6C911-97E8-4B51-8439-E6B7E1248F0B}" sibTransId="{0776038A-39EE-48AE-805B-3259AFBA0C53}"/>
    <dgm:cxn modelId="{BCBDA61B-D1E3-42D6-8F59-68CFB3EFF27A}" type="presOf" srcId="{13EFC2E7-3974-439C-BEE9-4B2713D2E5E6}" destId="{87E4686E-0742-483E-A67D-04D8FB717C51}" srcOrd="0" destOrd="0" presId="urn:microsoft.com/office/officeart/2008/layout/LinedList"/>
    <dgm:cxn modelId="{77760D1F-1228-47B4-87A7-9B634F83BF9B}" type="presOf" srcId="{7D6325D1-673D-4D00-AAFF-B3217B38526E}" destId="{5768819A-C1C1-4E12-B971-79876A147E18}" srcOrd="0" destOrd="0" presId="urn:microsoft.com/office/officeart/2008/layout/LinedList"/>
    <dgm:cxn modelId="{13210F6F-C5C2-4C14-B699-9702BC627C36}" type="presOf" srcId="{C94A9CAF-B5C5-469C-914A-ABCF54753A06}" destId="{64314EE4-E337-4381-B5DE-F1EE207775DF}" srcOrd="0" destOrd="0" presId="urn:microsoft.com/office/officeart/2008/layout/LinedList"/>
    <dgm:cxn modelId="{8794D976-0173-4ADF-AD8C-EA69130E92A3}" srcId="{B29D2BF4-B0E9-4C60-8984-6DC3C2949F77}" destId="{D1C556C3-B8F2-4FAF-AE0E-A4924D4EA6B5}" srcOrd="0" destOrd="0" parTransId="{17F45286-EE6D-4595-835E-DE9B6F5C112A}" sibTransId="{161F17BE-778F-479C-88B1-6070E20EC955}"/>
    <dgm:cxn modelId="{C5B450C0-8D30-4BCD-98CD-BEE6182E2B13}" srcId="{B29D2BF4-B0E9-4C60-8984-6DC3C2949F77}" destId="{A01894F3-0E33-4336-86EB-7A4988272ED3}" srcOrd="2" destOrd="0" parTransId="{568B0B9F-E882-4C87-83F1-C788C97BEA9E}" sibTransId="{03C76FF4-1BF2-4466-AB5F-F6F1D4FFD5C1}"/>
    <dgm:cxn modelId="{90D096F5-4777-4C40-84CF-11E6FF31095A}" srcId="{B29D2BF4-B0E9-4C60-8984-6DC3C2949F77}" destId="{13EFC2E7-3974-439C-BEE9-4B2713D2E5E6}" srcOrd="7" destOrd="0" parTransId="{9E6C0DD1-A976-4996-ABE4-B48E3CD23DF1}" sibTransId="{8E029405-4FCC-492C-A309-35B56DFF912D}"/>
    <dgm:cxn modelId="{780CA9CA-32D2-42BB-8AD2-1227ECEF53F1}" type="presOf" srcId="{B29D2BF4-B0E9-4C60-8984-6DC3C2949F77}" destId="{0A3CF1F3-C4EB-44E1-B945-AB0CC09584A5}" srcOrd="0" destOrd="0" presId="urn:microsoft.com/office/officeart/2008/layout/LinedList"/>
    <dgm:cxn modelId="{31D0F37F-5953-426A-89DB-C18DEC790A7C}" srcId="{B29D2BF4-B0E9-4C60-8984-6DC3C2949F77}" destId="{27FDC148-A0A6-4B78-B571-8A5306F02B3D}" srcOrd="6" destOrd="0" parTransId="{BCAFE56E-709E-4DE6-A31F-73E475DCE22A}" sibTransId="{82092AE8-CFAD-4BA5-B2B2-D47052ED7BA0}"/>
    <dgm:cxn modelId="{EE4789AA-7D0F-4E5B-A99B-642FD07340A8}" srcId="{B29D2BF4-B0E9-4C60-8984-6DC3C2949F77}" destId="{7460A1F6-5755-42CA-B8AC-13E83772F24F}" srcOrd="5" destOrd="0" parTransId="{CA0CB7D5-3047-4B30-AE15-3E16644BF416}" sibTransId="{86958B2F-5C2C-44E7-8175-9913ACEF89F4}"/>
    <dgm:cxn modelId="{39BABDD6-139C-4B76-AD77-6DE7F9B29F52}" type="presOf" srcId="{A01894F3-0E33-4336-86EB-7A4988272ED3}" destId="{E0A781F1-6657-4057-B1AC-9B6A20EA101A}" srcOrd="0" destOrd="0" presId="urn:microsoft.com/office/officeart/2008/layout/LinedList"/>
    <dgm:cxn modelId="{34331B89-96A3-46FF-ADC0-54508CF52439}" srcId="{B29D2BF4-B0E9-4C60-8984-6DC3C2949F77}" destId="{4FA51E9A-27A9-4351-A48F-C693E3C1694C}" srcOrd="1" destOrd="0" parTransId="{132E03D8-C80C-4F92-AF70-4ABF803BC6C4}" sibTransId="{E65644F8-478A-4FA4-BCAB-78798222D5DB}"/>
    <dgm:cxn modelId="{A10B7F94-4DA8-452A-AAA2-AD7647E46B36}" type="presOf" srcId="{7460A1F6-5755-42CA-B8AC-13E83772F24F}" destId="{A5D08EB0-0489-4062-97EE-86882970630D}" srcOrd="0" destOrd="0" presId="urn:microsoft.com/office/officeart/2008/layout/LinedList"/>
    <dgm:cxn modelId="{DE3C229A-C438-4239-B30F-0749D45E663C}" type="presParOf" srcId="{0A3CF1F3-C4EB-44E1-B945-AB0CC09584A5}" destId="{4CE77284-B9F8-446A-9F18-04F1EDF2DFFE}" srcOrd="0" destOrd="0" presId="urn:microsoft.com/office/officeart/2008/layout/LinedList"/>
    <dgm:cxn modelId="{F34F2F4B-0D38-462B-BC3D-98A9414D66A4}" type="presParOf" srcId="{0A3CF1F3-C4EB-44E1-B945-AB0CC09584A5}" destId="{4A0D61BB-8E41-4FEC-BEE9-B502429F6856}" srcOrd="1" destOrd="0" presId="urn:microsoft.com/office/officeart/2008/layout/LinedList"/>
    <dgm:cxn modelId="{E861A3A5-3AD4-4EBA-A36A-CA9279CF7E15}" type="presParOf" srcId="{4A0D61BB-8E41-4FEC-BEE9-B502429F6856}" destId="{DD6F42CC-5201-4CF0-B2C1-49C4DC3C24FA}" srcOrd="0" destOrd="0" presId="urn:microsoft.com/office/officeart/2008/layout/LinedList"/>
    <dgm:cxn modelId="{65AB96B1-7B04-4C89-B833-023AA81EC6AD}" type="presParOf" srcId="{4A0D61BB-8E41-4FEC-BEE9-B502429F6856}" destId="{7BC15B5A-1095-4FEC-92FB-0D22F2F577EB}" srcOrd="1" destOrd="0" presId="urn:microsoft.com/office/officeart/2008/layout/LinedList"/>
    <dgm:cxn modelId="{66FD8CD5-4703-4872-8CFD-F3690393F8AF}" type="presParOf" srcId="{0A3CF1F3-C4EB-44E1-B945-AB0CC09584A5}" destId="{88D98918-F405-482F-8347-02E010103853}" srcOrd="2" destOrd="0" presId="urn:microsoft.com/office/officeart/2008/layout/LinedList"/>
    <dgm:cxn modelId="{1E890927-5B09-4E79-ACAB-FC510CEFD8A6}" type="presParOf" srcId="{0A3CF1F3-C4EB-44E1-B945-AB0CC09584A5}" destId="{5AFB922C-3D34-4B91-B67C-B05D6F6E50C9}" srcOrd="3" destOrd="0" presId="urn:microsoft.com/office/officeart/2008/layout/LinedList"/>
    <dgm:cxn modelId="{EB797664-941F-43D9-B091-E2B8DB0DB241}" type="presParOf" srcId="{5AFB922C-3D34-4B91-B67C-B05D6F6E50C9}" destId="{3A4EF40B-E54C-477E-972D-8DD794F44689}" srcOrd="0" destOrd="0" presId="urn:microsoft.com/office/officeart/2008/layout/LinedList"/>
    <dgm:cxn modelId="{C0A4D3E8-88BA-4B4C-819C-553B6BA77D26}" type="presParOf" srcId="{5AFB922C-3D34-4B91-B67C-B05D6F6E50C9}" destId="{D83ABC91-6BF5-4792-8A94-A9A3F4ACD381}" srcOrd="1" destOrd="0" presId="urn:microsoft.com/office/officeart/2008/layout/LinedList"/>
    <dgm:cxn modelId="{8F4BEA5F-C8AA-4966-B265-410CFA4038BD}" type="presParOf" srcId="{0A3CF1F3-C4EB-44E1-B945-AB0CC09584A5}" destId="{1D35C8DC-8FC7-4ABA-B79E-0CA568688893}" srcOrd="4" destOrd="0" presId="urn:microsoft.com/office/officeart/2008/layout/LinedList"/>
    <dgm:cxn modelId="{5E73ACFA-FD53-4218-8C86-BB7E838D8CB8}" type="presParOf" srcId="{0A3CF1F3-C4EB-44E1-B945-AB0CC09584A5}" destId="{5014B2A2-F38D-4A31-B9C1-72741ADE397A}" srcOrd="5" destOrd="0" presId="urn:microsoft.com/office/officeart/2008/layout/LinedList"/>
    <dgm:cxn modelId="{549EF4B8-0737-4BAF-8176-24A8F1ABD9F9}" type="presParOf" srcId="{5014B2A2-F38D-4A31-B9C1-72741ADE397A}" destId="{E0A781F1-6657-4057-B1AC-9B6A20EA101A}" srcOrd="0" destOrd="0" presId="urn:microsoft.com/office/officeart/2008/layout/LinedList"/>
    <dgm:cxn modelId="{1AA32015-C123-4D55-8DDA-DC8B8F54A956}" type="presParOf" srcId="{5014B2A2-F38D-4A31-B9C1-72741ADE397A}" destId="{D8262919-DBCE-4502-8AE9-DAA1E6DAED53}" srcOrd="1" destOrd="0" presId="urn:microsoft.com/office/officeart/2008/layout/LinedList"/>
    <dgm:cxn modelId="{1F02240B-0EB2-454D-A59A-F5F1D4F6AC17}" type="presParOf" srcId="{0A3CF1F3-C4EB-44E1-B945-AB0CC09584A5}" destId="{F027CFAF-16D8-43B1-9B17-4A4E509C6631}" srcOrd="6" destOrd="0" presId="urn:microsoft.com/office/officeart/2008/layout/LinedList"/>
    <dgm:cxn modelId="{15A1199B-CC0C-4CBF-90D5-3C1BD4B9196A}" type="presParOf" srcId="{0A3CF1F3-C4EB-44E1-B945-AB0CC09584A5}" destId="{EB94C150-0515-4E04-86A4-D4AE087B8FF8}" srcOrd="7" destOrd="0" presId="urn:microsoft.com/office/officeart/2008/layout/LinedList"/>
    <dgm:cxn modelId="{0DCB090B-47EE-4086-80FC-02CECC2B9A69}" type="presParOf" srcId="{EB94C150-0515-4E04-86A4-D4AE087B8FF8}" destId="{64314EE4-E337-4381-B5DE-F1EE207775DF}" srcOrd="0" destOrd="0" presId="urn:microsoft.com/office/officeart/2008/layout/LinedList"/>
    <dgm:cxn modelId="{8D888499-B336-4BCC-9F67-A48828D4354A}" type="presParOf" srcId="{EB94C150-0515-4E04-86A4-D4AE087B8FF8}" destId="{2A2EAC68-A2D8-4D4E-855B-988F2E7255E5}" srcOrd="1" destOrd="0" presId="urn:microsoft.com/office/officeart/2008/layout/LinedList"/>
    <dgm:cxn modelId="{E8D9BBA2-717B-44CF-8373-5CFD9F1BC02C}" type="presParOf" srcId="{0A3CF1F3-C4EB-44E1-B945-AB0CC09584A5}" destId="{8881A881-94F3-474E-B7DE-68596018263B}" srcOrd="8" destOrd="0" presId="urn:microsoft.com/office/officeart/2008/layout/LinedList"/>
    <dgm:cxn modelId="{38638BEA-023D-4648-BCFC-DFE5000DBDFA}" type="presParOf" srcId="{0A3CF1F3-C4EB-44E1-B945-AB0CC09584A5}" destId="{CA093278-9D24-40E1-A50F-663D13EF52DB}" srcOrd="9" destOrd="0" presId="urn:microsoft.com/office/officeart/2008/layout/LinedList"/>
    <dgm:cxn modelId="{0444C075-4DFC-4193-ACED-76C49D06907F}" type="presParOf" srcId="{CA093278-9D24-40E1-A50F-663D13EF52DB}" destId="{5768819A-C1C1-4E12-B971-79876A147E18}" srcOrd="0" destOrd="0" presId="urn:microsoft.com/office/officeart/2008/layout/LinedList"/>
    <dgm:cxn modelId="{BBC346A4-3F4C-4096-814E-D8E189910F9D}" type="presParOf" srcId="{CA093278-9D24-40E1-A50F-663D13EF52DB}" destId="{F9831D3B-9CDF-44F1-8B87-11073CAD7586}" srcOrd="1" destOrd="0" presId="urn:microsoft.com/office/officeart/2008/layout/LinedList"/>
    <dgm:cxn modelId="{D5DC4DA5-C41E-45D3-BD44-D2CD0A4C8CE6}" type="presParOf" srcId="{0A3CF1F3-C4EB-44E1-B945-AB0CC09584A5}" destId="{3C3FF6BE-6905-411C-B937-9FB5AFDE8B0B}" srcOrd="10" destOrd="0" presId="urn:microsoft.com/office/officeart/2008/layout/LinedList"/>
    <dgm:cxn modelId="{E53BBDB2-DE12-4897-A795-6F67D7C4FBAA}" type="presParOf" srcId="{0A3CF1F3-C4EB-44E1-B945-AB0CC09584A5}" destId="{EA7F0076-5250-4849-98A8-B28CD8025898}" srcOrd="11" destOrd="0" presId="urn:microsoft.com/office/officeart/2008/layout/LinedList"/>
    <dgm:cxn modelId="{F20979C6-A724-435B-BA2B-6A0555EFE6DC}" type="presParOf" srcId="{EA7F0076-5250-4849-98A8-B28CD8025898}" destId="{A5D08EB0-0489-4062-97EE-86882970630D}" srcOrd="0" destOrd="0" presId="urn:microsoft.com/office/officeart/2008/layout/LinedList"/>
    <dgm:cxn modelId="{DB22B338-E484-4525-A49C-626A8679C568}" type="presParOf" srcId="{EA7F0076-5250-4849-98A8-B28CD8025898}" destId="{4BEAB6D3-5DA4-459D-93CD-F747F5415534}" srcOrd="1" destOrd="0" presId="urn:microsoft.com/office/officeart/2008/layout/LinedList"/>
    <dgm:cxn modelId="{1F407240-F3B7-4792-AFDF-FD7CD692584F}" type="presParOf" srcId="{0A3CF1F3-C4EB-44E1-B945-AB0CC09584A5}" destId="{D3FDF30C-D8C9-4A13-B667-3327485CB1F3}" srcOrd="12" destOrd="0" presId="urn:microsoft.com/office/officeart/2008/layout/LinedList"/>
    <dgm:cxn modelId="{D5A2141D-C4E7-4C5D-874C-0E8BE3BA27FC}" type="presParOf" srcId="{0A3CF1F3-C4EB-44E1-B945-AB0CC09584A5}" destId="{ACEEB278-B771-47E1-872A-B29611A22D62}" srcOrd="13" destOrd="0" presId="urn:microsoft.com/office/officeart/2008/layout/LinedList"/>
    <dgm:cxn modelId="{7EC5DF12-F556-42DF-BBA9-61C601F6D7A9}" type="presParOf" srcId="{ACEEB278-B771-47E1-872A-B29611A22D62}" destId="{0F3EC5FE-DBDA-4AAE-B397-DA54A0B4FC8B}" srcOrd="0" destOrd="0" presId="urn:microsoft.com/office/officeart/2008/layout/LinedList"/>
    <dgm:cxn modelId="{EAB0E5D7-C1A7-4E6E-9CC9-F594952E7D39}" type="presParOf" srcId="{ACEEB278-B771-47E1-872A-B29611A22D62}" destId="{A6234937-5605-4326-8BAF-4C39B30F3DDD}" srcOrd="1" destOrd="0" presId="urn:microsoft.com/office/officeart/2008/layout/LinedList"/>
    <dgm:cxn modelId="{D3367BD2-2A63-4C92-8FA3-11770972451C}" type="presParOf" srcId="{0A3CF1F3-C4EB-44E1-B945-AB0CC09584A5}" destId="{7A12476A-742F-4511-A7BA-469B584516CF}" srcOrd="14" destOrd="0" presId="urn:microsoft.com/office/officeart/2008/layout/LinedList"/>
    <dgm:cxn modelId="{8D446C70-0E7C-4A9A-ABAB-A7CC9EE3276F}" type="presParOf" srcId="{0A3CF1F3-C4EB-44E1-B945-AB0CC09584A5}" destId="{73E8D4FF-38DF-4177-AD1A-20AAB21FF5A1}" srcOrd="15" destOrd="0" presId="urn:microsoft.com/office/officeart/2008/layout/LinedList"/>
    <dgm:cxn modelId="{0DAE17E1-7C6F-41D0-B9E2-94EF9FA746F5}" type="presParOf" srcId="{73E8D4FF-38DF-4177-AD1A-20AAB21FF5A1}" destId="{87E4686E-0742-483E-A67D-04D8FB717C51}" srcOrd="0" destOrd="0" presId="urn:microsoft.com/office/officeart/2008/layout/LinedList"/>
    <dgm:cxn modelId="{C5D1B6B7-E919-4672-8194-10D6EA7C4948}" type="presParOf" srcId="{73E8D4FF-38DF-4177-AD1A-20AAB21FF5A1}" destId="{991639F8-06FB-4271-B282-5A7FEE368C75}" srcOrd="1" destOrd="0" presId="urn:microsoft.com/office/officeart/2008/layout/Lin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6.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dgm:spPr/>
      <dgm:t>
        <a:bodyPr/>
        <a:lstStyle/>
        <a:p>
          <a:pPr rtl="0"/>
          <a:r>
            <a:rPr lang="it-IT" b="1" dirty="0" smtClean="0">
              <a:effectLst>
                <a:outerShdw blurRad="38100" dist="38100" dir="2700000" algn="tl">
                  <a:srgbClr val="000000">
                    <a:alpha val="43137"/>
                  </a:srgbClr>
                </a:outerShdw>
              </a:effectLst>
            </a:rPr>
            <a:t>1. Sistema produttivo</a:t>
          </a:r>
          <a:endParaRPr lang="it-IT"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B918650E-6F03-4562-A288-A52F09FFD5D0}" type="presOf" srcId="{E4C7AF03-E2BD-4E48-8DAB-C1261D3D7EA9}" destId="{21D380AD-5D38-4835-9FB5-615E5454C686}" srcOrd="1" destOrd="0" presId="urn:microsoft.com/office/officeart/2005/8/layout/list1"/>
    <dgm:cxn modelId="{6872BC43-1AC1-4390-9EF6-072D8910781A}" type="presOf" srcId="{188FD03C-7D6A-4D29-8FCB-9C1383057E36}" destId="{C08F212E-D010-4B1B-884C-243E8BB88BD2}" srcOrd="0" destOrd="0" presId="urn:microsoft.com/office/officeart/2005/8/layout/list1"/>
    <dgm:cxn modelId="{8171A2D4-C054-4204-AEC0-9A2C5BEC8F4A}" type="presOf" srcId="{E4C7AF03-E2BD-4E48-8DAB-C1261D3D7EA9}" destId="{03DB856F-DE91-4CA0-AD05-B356DE21BFDC}"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39389424-0E66-463E-96FF-716539FAACA2}" type="presParOf" srcId="{C08F212E-D010-4B1B-884C-243E8BB88BD2}" destId="{A042C0D5-6636-40E8-83EA-703099528EDB}" srcOrd="0" destOrd="0" presId="urn:microsoft.com/office/officeart/2005/8/layout/list1"/>
    <dgm:cxn modelId="{46D1DDE7-3BF1-4C61-8341-D04A3F60EFFC}" type="presParOf" srcId="{A042C0D5-6636-40E8-83EA-703099528EDB}" destId="{03DB856F-DE91-4CA0-AD05-B356DE21BFDC}" srcOrd="0" destOrd="0" presId="urn:microsoft.com/office/officeart/2005/8/layout/list1"/>
    <dgm:cxn modelId="{647FA544-27DE-4D00-8AF0-4492606344CB}" type="presParOf" srcId="{A042C0D5-6636-40E8-83EA-703099528EDB}" destId="{21D380AD-5D38-4835-9FB5-615E5454C686}" srcOrd="1" destOrd="0" presId="urn:microsoft.com/office/officeart/2005/8/layout/list1"/>
    <dgm:cxn modelId="{27D74D4F-F281-484E-BC45-58DCDF00E236}" type="presParOf" srcId="{C08F212E-D010-4B1B-884C-243E8BB88BD2}" destId="{E77B3B8A-36B6-4AF7-9D59-DF889FA8E07C}" srcOrd="1" destOrd="0" presId="urn:microsoft.com/office/officeart/2005/8/layout/list1"/>
    <dgm:cxn modelId="{BE1C5C2C-8BBF-43F5-98E7-0098E5EE27DC}"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87.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La posizione competitiva della Sicilia</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063DD802-CEE3-4301-8F08-9E36A43D627B}" type="presOf" srcId="{9AF403A6-2C5C-4F1B-B787-47496D3DBC71}" destId="{639FA514-32E4-4E31-8688-3C040A3F30E9}" srcOrd="0" destOrd="0" presId="urn:microsoft.com/office/officeart/2005/8/layout/chevronAccent+Icon"/>
    <dgm:cxn modelId="{740FA1F6-14FA-4528-BA9C-878E920E6890}" srcId="{9AF403A6-2C5C-4F1B-B787-47496D3DBC71}" destId="{72D59079-C521-4525-81A4-701D931A8233}" srcOrd="0" destOrd="0" parTransId="{1DEA343A-7566-48EE-930F-714F2066956D}" sibTransId="{D283E7EF-33E5-4940-A56A-9ED7164573E3}"/>
    <dgm:cxn modelId="{F7F09340-335C-4931-80E1-B82B30DE400E}" type="presOf" srcId="{72D59079-C521-4525-81A4-701D931A8233}" destId="{9CE9EFE3-4E69-404A-8A99-59388A9E3922}" srcOrd="0" destOrd="0" presId="urn:microsoft.com/office/officeart/2005/8/layout/chevronAccent+Icon"/>
    <dgm:cxn modelId="{80A8B709-D580-481F-991B-02FA00098F6D}" type="presParOf" srcId="{639FA514-32E4-4E31-8688-3C040A3F30E9}" destId="{F100BA9B-D4E3-421F-B5D8-42E4C50A115C}" srcOrd="0" destOrd="0" presId="urn:microsoft.com/office/officeart/2005/8/layout/chevronAccent+Icon"/>
    <dgm:cxn modelId="{81BEEAE5-B333-49E2-99E2-28E5A9DC0BBF}" type="presParOf" srcId="{F100BA9B-D4E3-421F-B5D8-42E4C50A115C}" destId="{51AD98A5-0898-43D1-8FB1-9AA58104A73C}" srcOrd="0" destOrd="0" presId="urn:microsoft.com/office/officeart/2005/8/layout/chevronAccent+Icon"/>
    <dgm:cxn modelId="{30FED226-AB78-490B-95A1-8EB7D8465D66}"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88.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rtl="0"/>
          <a:r>
            <a:rPr lang="it-IT" sz="1400" b="1" dirty="0" smtClean="0">
              <a:effectLst>
                <a:outerShdw blurRad="38100" dist="38100" dir="2700000" algn="tl">
                  <a:srgbClr val="000000">
                    <a:alpha val="43137"/>
                  </a:srgbClr>
                </a:outerShdw>
              </a:effectLst>
            </a:rPr>
            <a:t>2. Sistema delle conoscenze</a:t>
          </a:r>
          <a:endParaRPr lang="it-IT" sz="14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A330150E-A1F2-4985-A1C5-92C6E02485C2}" type="presOf" srcId="{E4C7AF03-E2BD-4E48-8DAB-C1261D3D7EA9}" destId="{21D380AD-5D38-4835-9FB5-615E5454C686}" srcOrd="1" destOrd="0" presId="urn:microsoft.com/office/officeart/2005/8/layout/list1"/>
    <dgm:cxn modelId="{08B7BD68-5EA9-4630-9234-7E7775526871}" type="presOf" srcId="{188FD03C-7D6A-4D29-8FCB-9C1383057E36}" destId="{C08F212E-D010-4B1B-884C-243E8BB88BD2}" srcOrd="0" destOrd="0" presId="urn:microsoft.com/office/officeart/2005/8/layout/list1"/>
    <dgm:cxn modelId="{A2613B5B-E36A-40CB-A78D-18EA3F2ED772}" type="presOf" srcId="{E4C7AF03-E2BD-4E48-8DAB-C1261D3D7EA9}" destId="{03DB856F-DE91-4CA0-AD05-B356DE21BFDC}"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9FC5FA0D-6BA4-478F-A812-B390DE948488}" type="presParOf" srcId="{C08F212E-D010-4B1B-884C-243E8BB88BD2}" destId="{A042C0D5-6636-40E8-83EA-703099528EDB}" srcOrd="0" destOrd="0" presId="urn:microsoft.com/office/officeart/2005/8/layout/list1"/>
    <dgm:cxn modelId="{03DB9E38-BFDC-4758-BBCB-BE8F85A322AD}" type="presParOf" srcId="{A042C0D5-6636-40E8-83EA-703099528EDB}" destId="{03DB856F-DE91-4CA0-AD05-B356DE21BFDC}" srcOrd="0" destOrd="0" presId="urn:microsoft.com/office/officeart/2005/8/layout/list1"/>
    <dgm:cxn modelId="{B5312C78-CBF7-4324-971F-196A397F1528}" type="presParOf" srcId="{A042C0D5-6636-40E8-83EA-703099528EDB}" destId="{21D380AD-5D38-4835-9FB5-615E5454C686}" srcOrd="1" destOrd="0" presId="urn:microsoft.com/office/officeart/2005/8/layout/list1"/>
    <dgm:cxn modelId="{9F7D75B9-7665-4F74-913E-FA192813BC07}" type="presParOf" srcId="{C08F212E-D010-4B1B-884C-243E8BB88BD2}" destId="{E77B3B8A-36B6-4AF7-9D59-DF889FA8E07C}" srcOrd="1" destOrd="0" presId="urn:microsoft.com/office/officeart/2005/8/layout/list1"/>
    <dgm:cxn modelId="{022F58EB-96DA-4AB4-8C50-D6A73DB97C2A}"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9.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Competenze scientifiche e tecnologiche</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192AABC6-9690-4A74-9B06-2EFBD5F01036}" type="presOf" srcId="{72D59079-C521-4525-81A4-701D931A8233}" destId="{9CE9EFE3-4E69-404A-8A99-59388A9E3922}" srcOrd="0" destOrd="0" presId="urn:microsoft.com/office/officeart/2005/8/layout/chevronAccent+Icon"/>
    <dgm:cxn modelId="{56A6FC55-A806-4CBF-8A3D-4256E05C5D5E}" type="presOf" srcId="{9AF403A6-2C5C-4F1B-B787-47496D3DBC71}" destId="{639FA514-32E4-4E31-8688-3C040A3F30E9}" srcOrd="0" destOrd="0" presId="urn:microsoft.com/office/officeart/2005/8/layout/chevronAccent+Icon"/>
    <dgm:cxn modelId="{88C8E612-0D9A-482E-B821-11D5C6A4CB44}" type="presParOf" srcId="{639FA514-32E4-4E31-8688-3C040A3F30E9}" destId="{F100BA9B-D4E3-421F-B5D8-42E4C50A115C}" srcOrd="0" destOrd="0" presId="urn:microsoft.com/office/officeart/2005/8/layout/chevronAccent+Icon"/>
    <dgm:cxn modelId="{DCE39546-B193-44C7-9BFA-65A0206051E2}" type="presParOf" srcId="{F100BA9B-D4E3-421F-B5D8-42E4C50A115C}" destId="{51AD98A5-0898-43D1-8FB1-9AA58104A73C}" srcOrd="0" destOrd="0" presId="urn:microsoft.com/office/officeart/2005/8/layout/chevronAccent+Icon"/>
    <dgm:cxn modelId="{E0724157-0E32-4CD5-A814-9452685693F8}"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614299B-2072-44D6-A8AE-2578D07D4A7F}" type="doc">
      <dgm:prSet loTypeId="urn:microsoft.com/office/officeart/2005/8/layout/cycle8" loCatId="cycle" qsTypeId="urn:microsoft.com/office/officeart/2005/8/quickstyle/3d3" qsCatId="3D" csTypeId="urn:microsoft.com/office/officeart/2005/8/colors/accent1_2" csCatId="accent1" phldr="1"/>
      <dgm:spPr/>
      <dgm:t>
        <a:bodyPr/>
        <a:lstStyle/>
        <a:p>
          <a:endParaRPr lang="it-IT"/>
        </a:p>
      </dgm:t>
    </dgm:pt>
    <dgm:pt modelId="{5A4119CE-9133-4521-82CC-5CDF3CB50322}">
      <dgm:prSet phldrT="[Testo]"/>
      <dgm:spPr/>
      <dgm:t>
        <a:bodyPr/>
        <a:lstStyle/>
        <a:p>
          <a:r>
            <a:rPr lang="it-IT" dirty="0" smtClean="0"/>
            <a:t>Avvio</a:t>
          </a:r>
          <a:endParaRPr lang="it-IT" dirty="0"/>
        </a:p>
      </dgm:t>
    </dgm:pt>
    <dgm:pt modelId="{1AD96800-53D1-42FA-8BB9-CB8EA57457DA}" type="parTrans" cxnId="{2BFF39B4-673E-415C-BEDA-13B11218ED14}">
      <dgm:prSet/>
      <dgm:spPr/>
      <dgm:t>
        <a:bodyPr/>
        <a:lstStyle/>
        <a:p>
          <a:endParaRPr lang="it-IT"/>
        </a:p>
      </dgm:t>
    </dgm:pt>
    <dgm:pt modelId="{414911D7-F683-448B-BAFC-973B6F7BAE8C}" type="sibTrans" cxnId="{2BFF39B4-673E-415C-BEDA-13B11218ED14}">
      <dgm:prSet/>
      <dgm:spPr/>
      <dgm:t>
        <a:bodyPr/>
        <a:lstStyle/>
        <a:p>
          <a:endParaRPr lang="it-IT"/>
        </a:p>
      </dgm:t>
    </dgm:pt>
    <dgm:pt modelId="{A38EE3BB-1857-4162-BD97-E4F09BD3E9D5}">
      <dgm:prSet phldrT="[Testo]"/>
      <dgm:spPr/>
      <dgm:t>
        <a:bodyPr/>
        <a:lstStyle/>
        <a:p>
          <a:r>
            <a:rPr lang="it-IT" dirty="0" smtClean="0"/>
            <a:t>Elaborazione ed invio contributi</a:t>
          </a:r>
          <a:endParaRPr lang="it-IT" dirty="0"/>
        </a:p>
      </dgm:t>
    </dgm:pt>
    <dgm:pt modelId="{960ED48D-7B66-4707-B779-3BEA4CE1F7D8}" type="parTrans" cxnId="{E5CD6CE0-EBAD-43B4-9A20-8F674AA6C3DC}">
      <dgm:prSet/>
      <dgm:spPr/>
      <dgm:t>
        <a:bodyPr/>
        <a:lstStyle/>
        <a:p>
          <a:endParaRPr lang="it-IT"/>
        </a:p>
      </dgm:t>
    </dgm:pt>
    <dgm:pt modelId="{CE7B6273-0C49-4549-9983-578881C51358}" type="sibTrans" cxnId="{E5CD6CE0-EBAD-43B4-9A20-8F674AA6C3DC}">
      <dgm:prSet/>
      <dgm:spPr/>
      <dgm:t>
        <a:bodyPr/>
        <a:lstStyle/>
        <a:p>
          <a:endParaRPr lang="it-IT"/>
        </a:p>
      </dgm:t>
    </dgm:pt>
    <dgm:pt modelId="{8129AC6B-B953-4C5D-96AC-DB9331523478}">
      <dgm:prSet phldrT="[Testo]"/>
      <dgm:spPr/>
      <dgm:t>
        <a:bodyPr/>
        <a:lstStyle/>
        <a:p>
          <a:r>
            <a:rPr lang="it-IT" dirty="0" smtClean="0"/>
            <a:t>Raccolta e sistematizzazione contributi</a:t>
          </a:r>
          <a:endParaRPr lang="it-IT" dirty="0"/>
        </a:p>
      </dgm:t>
    </dgm:pt>
    <dgm:pt modelId="{FB89B788-C656-4FB1-938D-A527B2F1AC8D}" type="parTrans" cxnId="{7245D303-6344-451B-A6A1-E18A65A092FE}">
      <dgm:prSet/>
      <dgm:spPr/>
      <dgm:t>
        <a:bodyPr/>
        <a:lstStyle/>
        <a:p>
          <a:endParaRPr lang="it-IT"/>
        </a:p>
      </dgm:t>
    </dgm:pt>
    <dgm:pt modelId="{4AD9F207-EEF0-4CB8-9D87-6E9A4CF0E676}" type="sibTrans" cxnId="{7245D303-6344-451B-A6A1-E18A65A092FE}">
      <dgm:prSet/>
      <dgm:spPr/>
      <dgm:t>
        <a:bodyPr/>
        <a:lstStyle/>
        <a:p>
          <a:endParaRPr lang="it-IT"/>
        </a:p>
      </dgm:t>
    </dgm:pt>
    <dgm:pt modelId="{D8ECAAE4-BB06-4247-BFF9-DE9C767B500B}">
      <dgm:prSet phldrT="[Testo]"/>
      <dgm:spPr/>
      <dgm:t>
        <a:bodyPr/>
        <a:lstStyle/>
        <a:p>
          <a:r>
            <a:rPr lang="it-IT" dirty="0" smtClean="0"/>
            <a:t>Restituzione e condivisione</a:t>
          </a:r>
          <a:endParaRPr lang="it-IT" dirty="0"/>
        </a:p>
      </dgm:t>
    </dgm:pt>
    <dgm:pt modelId="{EE7AFA6A-9065-4FEC-BC19-2F72BA31E000}" type="parTrans" cxnId="{7DE1D404-EEC6-4E91-A3B2-4D6973BE88A1}">
      <dgm:prSet/>
      <dgm:spPr/>
      <dgm:t>
        <a:bodyPr/>
        <a:lstStyle/>
        <a:p>
          <a:endParaRPr lang="it-IT"/>
        </a:p>
      </dgm:t>
    </dgm:pt>
    <dgm:pt modelId="{82EF2C73-0944-4DE5-9C97-BBD2A70FBC63}" type="sibTrans" cxnId="{7DE1D404-EEC6-4E91-A3B2-4D6973BE88A1}">
      <dgm:prSet/>
      <dgm:spPr/>
      <dgm:t>
        <a:bodyPr/>
        <a:lstStyle/>
        <a:p>
          <a:endParaRPr lang="it-IT"/>
        </a:p>
      </dgm:t>
    </dgm:pt>
    <dgm:pt modelId="{9B2DF850-6F39-4C7B-8F9C-4FB9B6127052}" type="pres">
      <dgm:prSet presAssocID="{C614299B-2072-44D6-A8AE-2578D07D4A7F}" presName="compositeShape" presStyleCnt="0">
        <dgm:presLayoutVars>
          <dgm:chMax val="7"/>
          <dgm:dir/>
          <dgm:resizeHandles val="exact"/>
        </dgm:presLayoutVars>
      </dgm:prSet>
      <dgm:spPr/>
      <dgm:t>
        <a:bodyPr/>
        <a:lstStyle/>
        <a:p>
          <a:endParaRPr lang="it-IT"/>
        </a:p>
      </dgm:t>
    </dgm:pt>
    <dgm:pt modelId="{B21CCAE3-4E5B-4AD4-98CF-C84CFD4B2B61}" type="pres">
      <dgm:prSet presAssocID="{C614299B-2072-44D6-A8AE-2578D07D4A7F}" presName="wedge1" presStyleLbl="node1" presStyleIdx="0" presStyleCnt="4"/>
      <dgm:spPr/>
      <dgm:t>
        <a:bodyPr/>
        <a:lstStyle/>
        <a:p>
          <a:endParaRPr lang="it-IT"/>
        </a:p>
      </dgm:t>
    </dgm:pt>
    <dgm:pt modelId="{C4E6D097-CC03-48D3-857D-DC2A4EA423B4}" type="pres">
      <dgm:prSet presAssocID="{C614299B-2072-44D6-A8AE-2578D07D4A7F}" presName="dummy1a" presStyleCnt="0"/>
      <dgm:spPr/>
    </dgm:pt>
    <dgm:pt modelId="{C40D7312-AB5A-4228-9936-8EA64F9B4BFD}" type="pres">
      <dgm:prSet presAssocID="{C614299B-2072-44D6-A8AE-2578D07D4A7F}" presName="dummy1b" presStyleCnt="0"/>
      <dgm:spPr/>
    </dgm:pt>
    <dgm:pt modelId="{BED3001F-674E-470B-8B2C-07271289107A}" type="pres">
      <dgm:prSet presAssocID="{C614299B-2072-44D6-A8AE-2578D07D4A7F}" presName="wedge1Tx" presStyleLbl="node1" presStyleIdx="0" presStyleCnt="4">
        <dgm:presLayoutVars>
          <dgm:chMax val="0"/>
          <dgm:chPref val="0"/>
          <dgm:bulletEnabled val="1"/>
        </dgm:presLayoutVars>
      </dgm:prSet>
      <dgm:spPr/>
      <dgm:t>
        <a:bodyPr/>
        <a:lstStyle/>
        <a:p>
          <a:endParaRPr lang="it-IT"/>
        </a:p>
      </dgm:t>
    </dgm:pt>
    <dgm:pt modelId="{F0F6EC78-48FE-4338-9470-51C5945E4C5A}" type="pres">
      <dgm:prSet presAssocID="{C614299B-2072-44D6-A8AE-2578D07D4A7F}" presName="wedge2" presStyleLbl="node1" presStyleIdx="1" presStyleCnt="4"/>
      <dgm:spPr/>
      <dgm:t>
        <a:bodyPr/>
        <a:lstStyle/>
        <a:p>
          <a:endParaRPr lang="it-IT"/>
        </a:p>
      </dgm:t>
    </dgm:pt>
    <dgm:pt modelId="{FE710D49-71F8-4120-B031-08BEE462CD9D}" type="pres">
      <dgm:prSet presAssocID="{C614299B-2072-44D6-A8AE-2578D07D4A7F}" presName="dummy2a" presStyleCnt="0"/>
      <dgm:spPr/>
    </dgm:pt>
    <dgm:pt modelId="{5B7D1FFF-ED52-4A71-A480-94D2B8A2FE6C}" type="pres">
      <dgm:prSet presAssocID="{C614299B-2072-44D6-A8AE-2578D07D4A7F}" presName="dummy2b" presStyleCnt="0"/>
      <dgm:spPr/>
    </dgm:pt>
    <dgm:pt modelId="{8F5469E7-585B-41BF-B0B9-432DEE54B9D7}" type="pres">
      <dgm:prSet presAssocID="{C614299B-2072-44D6-A8AE-2578D07D4A7F}" presName="wedge2Tx" presStyleLbl="node1" presStyleIdx="1" presStyleCnt="4">
        <dgm:presLayoutVars>
          <dgm:chMax val="0"/>
          <dgm:chPref val="0"/>
          <dgm:bulletEnabled val="1"/>
        </dgm:presLayoutVars>
      </dgm:prSet>
      <dgm:spPr/>
      <dgm:t>
        <a:bodyPr/>
        <a:lstStyle/>
        <a:p>
          <a:endParaRPr lang="it-IT"/>
        </a:p>
      </dgm:t>
    </dgm:pt>
    <dgm:pt modelId="{6474684D-7762-4CD1-A3B4-D72EED99A80F}" type="pres">
      <dgm:prSet presAssocID="{C614299B-2072-44D6-A8AE-2578D07D4A7F}" presName="wedge3" presStyleLbl="node1" presStyleIdx="2" presStyleCnt="4"/>
      <dgm:spPr/>
      <dgm:t>
        <a:bodyPr/>
        <a:lstStyle/>
        <a:p>
          <a:endParaRPr lang="it-IT"/>
        </a:p>
      </dgm:t>
    </dgm:pt>
    <dgm:pt modelId="{C95F34F1-DD72-4853-B47C-7B5756226F78}" type="pres">
      <dgm:prSet presAssocID="{C614299B-2072-44D6-A8AE-2578D07D4A7F}" presName="dummy3a" presStyleCnt="0"/>
      <dgm:spPr/>
    </dgm:pt>
    <dgm:pt modelId="{C5216591-466C-44C9-89A5-685B16ABD408}" type="pres">
      <dgm:prSet presAssocID="{C614299B-2072-44D6-A8AE-2578D07D4A7F}" presName="dummy3b" presStyleCnt="0"/>
      <dgm:spPr/>
    </dgm:pt>
    <dgm:pt modelId="{C15382B8-6863-47C3-BF10-11F61B0D5D87}" type="pres">
      <dgm:prSet presAssocID="{C614299B-2072-44D6-A8AE-2578D07D4A7F}" presName="wedge3Tx" presStyleLbl="node1" presStyleIdx="2" presStyleCnt="4">
        <dgm:presLayoutVars>
          <dgm:chMax val="0"/>
          <dgm:chPref val="0"/>
          <dgm:bulletEnabled val="1"/>
        </dgm:presLayoutVars>
      </dgm:prSet>
      <dgm:spPr/>
      <dgm:t>
        <a:bodyPr/>
        <a:lstStyle/>
        <a:p>
          <a:endParaRPr lang="it-IT"/>
        </a:p>
      </dgm:t>
    </dgm:pt>
    <dgm:pt modelId="{2CD97BB5-9B57-47E0-A5C0-4486B247297F}" type="pres">
      <dgm:prSet presAssocID="{C614299B-2072-44D6-A8AE-2578D07D4A7F}" presName="wedge4" presStyleLbl="node1" presStyleIdx="3" presStyleCnt="4"/>
      <dgm:spPr/>
      <dgm:t>
        <a:bodyPr/>
        <a:lstStyle/>
        <a:p>
          <a:endParaRPr lang="it-IT"/>
        </a:p>
      </dgm:t>
    </dgm:pt>
    <dgm:pt modelId="{89660C4E-0CFD-40FC-BBED-805D1F489E1A}" type="pres">
      <dgm:prSet presAssocID="{C614299B-2072-44D6-A8AE-2578D07D4A7F}" presName="dummy4a" presStyleCnt="0"/>
      <dgm:spPr/>
    </dgm:pt>
    <dgm:pt modelId="{3757EB00-7E33-495C-9253-257317882ECE}" type="pres">
      <dgm:prSet presAssocID="{C614299B-2072-44D6-A8AE-2578D07D4A7F}" presName="dummy4b" presStyleCnt="0"/>
      <dgm:spPr/>
    </dgm:pt>
    <dgm:pt modelId="{55D7C5ED-B24F-4D70-AEDF-14ECE132D3E5}" type="pres">
      <dgm:prSet presAssocID="{C614299B-2072-44D6-A8AE-2578D07D4A7F}" presName="wedge4Tx" presStyleLbl="node1" presStyleIdx="3" presStyleCnt="4">
        <dgm:presLayoutVars>
          <dgm:chMax val="0"/>
          <dgm:chPref val="0"/>
          <dgm:bulletEnabled val="1"/>
        </dgm:presLayoutVars>
      </dgm:prSet>
      <dgm:spPr/>
      <dgm:t>
        <a:bodyPr/>
        <a:lstStyle/>
        <a:p>
          <a:endParaRPr lang="it-IT"/>
        </a:p>
      </dgm:t>
    </dgm:pt>
    <dgm:pt modelId="{5CC2729F-211C-496E-9C98-DF70F4BFF7C1}" type="pres">
      <dgm:prSet presAssocID="{414911D7-F683-448B-BAFC-973B6F7BAE8C}" presName="arrowWedge1" presStyleLbl="fgSibTrans2D1" presStyleIdx="0" presStyleCnt="4"/>
      <dgm:spPr/>
    </dgm:pt>
    <dgm:pt modelId="{6E92B4D0-B766-4BEF-AE06-9F28B81EEEE6}" type="pres">
      <dgm:prSet presAssocID="{CE7B6273-0C49-4549-9983-578881C51358}" presName="arrowWedge2" presStyleLbl="fgSibTrans2D1" presStyleIdx="1" presStyleCnt="4"/>
      <dgm:spPr/>
    </dgm:pt>
    <dgm:pt modelId="{2C8C345A-097E-4D75-B389-7699A21EF75E}" type="pres">
      <dgm:prSet presAssocID="{4AD9F207-EEF0-4CB8-9D87-6E9A4CF0E676}" presName="arrowWedge3" presStyleLbl="fgSibTrans2D1" presStyleIdx="2" presStyleCnt="4" custLinFactNeighborX="-123" custLinFactNeighborY="1171"/>
      <dgm:spPr/>
    </dgm:pt>
    <dgm:pt modelId="{A214AC69-442E-4B0A-9DD7-23F3962569FF}" type="pres">
      <dgm:prSet presAssocID="{82EF2C73-0944-4DE5-9C97-BBD2A70FBC63}" presName="arrowWedge4" presStyleLbl="fgSibTrans2D1" presStyleIdx="3" presStyleCnt="4"/>
      <dgm:spPr/>
    </dgm:pt>
  </dgm:ptLst>
  <dgm:cxnLst>
    <dgm:cxn modelId="{EF5643A1-A14F-4130-83D9-E777D3EBCE7F}" type="presOf" srcId="{D8ECAAE4-BB06-4247-BFF9-DE9C767B500B}" destId="{55D7C5ED-B24F-4D70-AEDF-14ECE132D3E5}" srcOrd="1" destOrd="0" presId="urn:microsoft.com/office/officeart/2005/8/layout/cycle8"/>
    <dgm:cxn modelId="{CEC496E2-405D-4CD8-A088-7ADDC7CD6224}" type="presOf" srcId="{5A4119CE-9133-4521-82CC-5CDF3CB50322}" destId="{B21CCAE3-4E5B-4AD4-98CF-C84CFD4B2B61}" srcOrd="0" destOrd="0" presId="urn:microsoft.com/office/officeart/2005/8/layout/cycle8"/>
    <dgm:cxn modelId="{B4AE16C3-B869-4C8B-A3C4-EE43F777A81E}" type="presOf" srcId="{C614299B-2072-44D6-A8AE-2578D07D4A7F}" destId="{9B2DF850-6F39-4C7B-8F9C-4FB9B6127052}" srcOrd="0" destOrd="0" presId="urn:microsoft.com/office/officeart/2005/8/layout/cycle8"/>
    <dgm:cxn modelId="{5B029A31-7973-48FC-904A-8E1415FB31DB}" type="presOf" srcId="{D8ECAAE4-BB06-4247-BFF9-DE9C767B500B}" destId="{2CD97BB5-9B57-47E0-A5C0-4486B247297F}" srcOrd="0" destOrd="0" presId="urn:microsoft.com/office/officeart/2005/8/layout/cycle8"/>
    <dgm:cxn modelId="{2BFF39B4-673E-415C-BEDA-13B11218ED14}" srcId="{C614299B-2072-44D6-A8AE-2578D07D4A7F}" destId="{5A4119CE-9133-4521-82CC-5CDF3CB50322}" srcOrd="0" destOrd="0" parTransId="{1AD96800-53D1-42FA-8BB9-CB8EA57457DA}" sibTransId="{414911D7-F683-448B-BAFC-973B6F7BAE8C}"/>
    <dgm:cxn modelId="{07A11E81-838B-48C4-B3CE-575CE01AA285}" type="presOf" srcId="{8129AC6B-B953-4C5D-96AC-DB9331523478}" destId="{6474684D-7762-4CD1-A3B4-D72EED99A80F}" srcOrd="0" destOrd="0" presId="urn:microsoft.com/office/officeart/2005/8/layout/cycle8"/>
    <dgm:cxn modelId="{7245D303-6344-451B-A6A1-E18A65A092FE}" srcId="{C614299B-2072-44D6-A8AE-2578D07D4A7F}" destId="{8129AC6B-B953-4C5D-96AC-DB9331523478}" srcOrd="2" destOrd="0" parTransId="{FB89B788-C656-4FB1-938D-A527B2F1AC8D}" sibTransId="{4AD9F207-EEF0-4CB8-9D87-6E9A4CF0E676}"/>
    <dgm:cxn modelId="{8F9F5334-FDDD-45D3-8255-6EE5AAEA4A63}" type="presOf" srcId="{8129AC6B-B953-4C5D-96AC-DB9331523478}" destId="{C15382B8-6863-47C3-BF10-11F61B0D5D87}" srcOrd="1" destOrd="0" presId="urn:microsoft.com/office/officeart/2005/8/layout/cycle8"/>
    <dgm:cxn modelId="{7DE544F7-719C-45A8-A4AF-667864559B4C}" type="presOf" srcId="{5A4119CE-9133-4521-82CC-5CDF3CB50322}" destId="{BED3001F-674E-470B-8B2C-07271289107A}" srcOrd="1" destOrd="0" presId="urn:microsoft.com/office/officeart/2005/8/layout/cycle8"/>
    <dgm:cxn modelId="{E5CD6CE0-EBAD-43B4-9A20-8F674AA6C3DC}" srcId="{C614299B-2072-44D6-A8AE-2578D07D4A7F}" destId="{A38EE3BB-1857-4162-BD97-E4F09BD3E9D5}" srcOrd="1" destOrd="0" parTransId="{960ED48D-7B66-4707-B779-3BEA4CE1F7D8}" sibTransId="{CE7B6273-0C49-4549-9983-578881C51358}"/>
    <dgm:cxn modelId="{8D160387-46DD-457A-82B0-AF88829CF176}" type="presOf" srcId="{A38EE3BB-1857-4162-BD97-E4F09BD3E9D5}" destId="{8F5469E7-585B-41BF-B0B9-432DEE54B9D7}" srcOrd="1" destOrd="0" presId="urn:microsoft.com/office/officeart/2005/8/layout/cycle8"/>
    <dgm:cxn modelId="{7DA01B41-7384-44F8-B476-A529477D0750}" type="presOf" srcId="{A38EE3BB-1857-4162-BD97-E4F09BD3E9D5}" destId="{F0F6EC78-48FE-4338-9470-51C5945E4C5A}" srcOrd="0" destOrd="0" presId="urn:microsoft.com/office/officeart/2005/8/layout/cycle8"/>
    <dgm:cxn modelId="{7DE1D404-EEC6-4E91-A3B2-4D6973BE88A1}" srcId="{C614299B-2072-44D6-A8AE-2578D07D4A7F}" destId="{D8ECAAE4-BB06-4247-BFF9-DE9C767B500B}" srcOrd="3" destOrd="0" parTransId="{EE7AFA6A-9065-4FEC-BC19-2F72BA31E000}" sibTransId="{82EF2C73-0944-4DE5-9C97-BBD2A70FBC63}"/>
    <dgm:cxn modelId="{BB5AED6E-6380-4820-95B4-706DB0255D1D}" type="presParOf" srcId="{9B2DF850-6F39-4C7B-8F9C-4FB9B6127052}" destId="{B21CCAE3-4E5B-4AD4-98CF-C84CFD4B2B61}" srcOrd="0" destOrd="0" presId="urn:microsoft.com/office/officeart/2005/8/layout/cycle8"/>
    <dgm:cxn modelId="{4B788EE7-D7EA-425F-9A8F-32E953CA1387}" type="presParOf" srcId="{9B2DF850-6F39-4C7B-8F9C-4FB9B6127052}" destId="{C4E6D097-CC03-48D3-857D-DC2A4EA423B4}" srcOrd="1" destOrd="0" presId="urn:microsoft.com/office/officeart/2005/8/layout/cycle8"/>
    <dgm:cxn modelId="{640EBB81-AD32-4A2D-8882-8A118610AF77}" type="presParOf" srcId="{9B2DF850-6F39-4C7B-8F9C-4FB9B6127052}" destId="{C40D7312-AB5A-4228-9936-8EA64F9B4BFD}" srcOrd="2" destOrd="0" presId="urn:microsoft.com/office/officeart/2005/8/layout/cycle8"/>
    <dgm:cxn modelId="{52308EA8-F3EF-4C9E-BABA-FA3CC14AC948}" type="presParOf" srcId="{9B2DF850-6F39-4C7B-8F9C-4FB9B6127052}" destId="{BED3001F-674E-470B-8B2C-07271289107A}" srcOrd="3" destOrd="0" presId="urn:microsoft.com/office/officeart/2005/8/layout/cycle8"/>
    <dgm:cxn modelId="{4AC7FF35-0762-42F5-992A-FE0976C68BEA}" type="presParOf" srcId="{9B2DF850-6F39-4C7B-8F9C-4FB9B6127052}" destId="{F0F6EC78-48FE-4338-9470-51C5945E4C5A}" srcOrd="4" destOrd="0" presId="urn:microsoft.com/office/officeart/2005/8/layout/cycle8"/>
    <dgm:cxn modelId="{84008BED-8522-4F4C-958C-6E1FBB720A7F}" type="presParOf" srcId="{9B2DF850-6F39-4C7B-8F9C-4FB9B6127052}" destId="{FE710D49-71F8-4120-B031-08BEE462CD9D}" srcOrd="5" destOrd="0" presId="urn:microsoft.com/office/officeart/2005/8/layout/cycle8"/>
    <dgm:cxn modelId="{4DD8F10F-D76A-43E0-9F59-4621C82BB4BB}" type="presParOf" srcId="{9B2DF850-6F39-4C7B-8F9C-4FB9B6127052}" destId="{5B7D1FFF-ED52-4A71-A480-94D2B8A2FE6C}" srcOrd="6" destOrd="0" presId="urn:microsoft.com/office/officeart/2005/8/layout/cycle8"/>
    <dgm:cxn modelId="{8E76FF7D-F125-4FB5-AEEC-C0FB6664738C}" type="presParOf" srcId="{9B2DF850-6F39-4C7B-8F9C-4FB9B6127052}" destId="{8F5469E7-585B-41BF-B0B9-432DEE54B9D7}" srcOrd="7" destOrd="0" presId="urn:microsoft.com/office/officeart/2005/8/layout/cycle8"/>
    <dgm:cxn modelId="{118CD914-9E4F-4A1C-A506-C5C14C36B81D}" type="presParOf" srcId="{9B2DF850-6F39-4C7B-8F9C-4FB9B6127052}" destId="{6474684D-7762-4CD1-A3B4-D72EED99A80F}" srcOrd="8" destOrd="0" presId="urn:microsoft.com/office/officeart/2005/8/layout/cycle8"/>
    <dgm:cxn modelId="{D32D4AE7-C687-400F-BBC4-D6D31FDF1921}" type="presParOf" srcId="{9B2DF850-6F39-4C7B-8F9C-4FB9B6127052}" destId="{C95F34F1-DD72-4853-B47C-7B5756226F78}" srcOrd="9" destOrd="0" presId="urn:microsoft.com/office/officeart/2005/8/layout/cycle8"/>
    <dgm:cxn modelId="{590C4D9A-B0AA-4DD5-83DC-5BDE6A97F78F}" type="presParOf" srcId="{9B2DF850-6F39-4C7B-8F9C-4FB9B6127052}" destId="{C5216591-466C-44C9-89A5-685B16ABD408}" srcOrd="10" destOrd="0" presId="urn:microsoft.com/office/officeart/2005/8/layout/cycle8"/>
    <dgm:cxn modelId="{349F72F8-A698-483C-A7ED-C384ADFFDF20}" type="presParOf" srcId="{9B2DF850-6F39-4C7B-8F9C-4FB9B6127052}" destId="{C15382B8-6863-47C3-BF10-11F61B0D5D87}" srcOrd="11" destOrd="0" presId="urn:microsoft.com/office/officeart/2005/8/layout/cycle8"/>
    <dgm:cxn modelId="{854D6E9B-FF1C-4E44-BF82-CC387C3D490B}" type="presParOf" srcId="{9B2DF850-6F39-4C7B-8F9C-4FB9B6127052}" destId="{2CD97BB5-9B57-47E0-A5C0-4486B247297F}" srcOrd="12" destOrd="0" presId="urn:microsoft.com/office/officeart/2005/8/layout/cycle8"/>
    <dgm:cxn modelId="{75E3CAA0-C81B-44AA-B9DB-6750B3C14558}" type="presParOf" srcId="{9B2DF850-6F39-4C7B-8F9C-4FB9B6127052}" destId="{89660C4E-0CFD-40FC-BBED-805D1F489E1A}" srcOrd="13" destOrd="0" presId="urn:microsoft.com/office/officeart/2005/8/layout/cycle8"/>
    <dgm:cxn modelId="{D084C4F1-389A-4B9D-B162-967B9E709BB2}" type="presParOf" srcId="{9B2DF850-6F39-4C7B-8F9C-4FB9B6127052}" destId="{3757EB00-7E33-495C-9253-257317882ECE}" srcOrd="14" destOrd="0" presId="urn:microsoft.com/office/officeart/2005/8/layout/cycle8"/>
    <dgm:cxn modelId="{C9D34EC8-D03C-47C9-A977-C50DEA94CB99}" type="presParOf" srcId="{9B2DF850-6F39-4C7B-8F9C-4FB9B6127052}" destId="{55D7C5ED-B24F-4D70-AEDF-14ECE132D3E5}" srcOrd="15" destOrd="0" presId="urn:microsoft.com/office/officeart/2005/8/layout/cycle8"/>
    <dgm:cxn modelId="{49AC875A-E359-4C83-B055-72BAB95A7E21}" type="presParOf" srcId="{9B2DF850-6F39-4C7B-8F9C-4FB9B6127052}" destId="{5CC2729F-211C-496E-9C98-DF70F4BFF7C1}" srcOrd="16" destOrd="0" presId="urn:microsoft.com/office/officeart/2005/8/layout/cycle8"/>
    <dgm:cxn modelId="{AE56E930-4CD5-4502-AD3A-34D51CFA2695}" type="presParOf" srcId="{9B2DF850-6F39-4C7B-8F9C-4FB9B6127052}" destId="{6E92B4D0-B766-4BEF-AE06-9F28B81EEEE6}" srcOrd="17" destOrd="0" presId="urn:microsoft.com/office/officeart/2005/8/layout/cycle8"/>
    <dgm:cxn modelId="{4ADE9D34-6925-4C61-B8E6-FC645ED2CECC}" type="presParOf" srcId="{9B2DF850-6F39-4C7B-8F9C-4FB9B6127052}" destId="{2C8C345A-097E-4D75-B389-7699A21EF75E}" srcOrd="18" destOrd="0" presId="urn:microsoft.com/office/officeart/2005/8/layout/cycle8"/>
    <dgm:cxn modelId="{B1800E68-61E6-473F-9CC9-F0FDB7F7808B}" type="presParOf" srcId="{9B2DF850-6F39-4C7B-8F9C-4FB9B6127052}" destId="{A214AC69-442E-4B0A-9DD7-23F3962569FF}" srcOrd="19" destOrd="0" presId="urn:microsoft.com/office/officeart/2005/8/layout/cycle8"/>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90.xml><?xml version="1.0" encoding="utf-8"?>
<dgm:dataModel xmlns:dgm="http://schemas.openxmlformats.org/drawingml/2006/diagram" xmlns:a="http://schemas.openxmlformats.org/drawingml/2006/main">
  <dgm:ptLst>
    <dgm:pt modelId="{E3B7187C-66D1-46C5-8C6D-72B1B685A54D}" type="doc">
      <dgm:prSet loTypeId="urn:microsoft.com/office/officeart/2005/8/layout/vList2" loCatId="list" qsTypeId="urn:microsoft.com/office/officeart/2005/8/quickstyle/simple1" qsCatId="simple" csTypeId="urn:microsoft.com/office/officeart/2005/8/colors/accent6_2" csCatId="accent6" phldr="1"/>
      <dgm:spPr/>
      <dgm:t>
        <a:bodyPr/>
        <a:lstStyle/>
        <a:p>
          <a:endParaRPr lang="it-IT"/>
        </a:p>
      </dgm:t>
    </dgm:pt>
    <dgm:pt modelId="{8E242049-A322-4485-BEB4-4F80C72F42F4}">
      <dgm:prSet custT="1"/>
      <dgm:spPr/>
      <dgm:t>
        <a:bodyPr/>
        <a:lstStyle/>
        <a:p>
          <a:pPr rtl="0"/>
          <a:r>
            <a:rPr lang="it-IT" sz="1800" b="1" dirty="0" smtClean="0"/>
            <a:t>1.Strutture universitarie (acquisire dati)</a:t>
          </a:r>
          <a:endParaRPr lang="it-IT" sz="1800" b="1" dirty="0"/>
        </a:p>
      </dgm:t>
    </dgm:pt>
    <dgm:pt modelId="{A37563D4-0A6A-472C-B6C0-E6070FE276B8}" type="parTrans" cxnId="{8886683E-AC65-4541-81D8-FD8A10981CD3}">
      <dgm:prSet/>
      <dgm:spPr/>
      <dgm:t>
        <a:bodyPr/>
        <a:lstStyle/>
        <a:p>
          <a:endParaRPr lang="it-IT"/>
        </a:p>
      </dgm:t>
    </dgm:pt>
    <dgm:pt modelId="{681FCFDC-26E9-4A3D-AE69-64DDE0606CFC}" type="sibTrans" cxnId="{8886683E-AC65-4541-81D8-FD8A10981CD3}">
      <dgm:prSet/>
      <dgm:spPr/>
      <dgm:t>
        <a:bodyPr/>
        <a:lstStyle/>
        <a:p>
          <a:endParaRPr lang="it-IT"/>
        </a:p>
      </dgm:t>
    </dgm:pt>
    <dgm:pt modelId="{5AB66296-F148-4296-B20E-AC3A446EF30C}">
      <dgm:prSet custT="1"/>
      <dgm:spPr/>
      <dgm:t>
        <a:bodyPr/>
        <a:lstStyle/>
        <a:p>
          <a:pPr rtl="0"/>
          <a:r>
            <a:rPr lang="it-IT" sz="1800" b="1" dirty="0" smtClean="0"/>
            <a:t>2.Altri enti pubblici di ricerca (acquisire dati)</a:t>
          </a:r>
          <a:endParaRPr lang="it-IT" sz="1800" b="1" dirty="0"/>
        </a:p>
      </dgm:t>
    </dgm:pt>
    <dgm:pt modelId="{65FDDD5D-347F-4885-8CB9-C4B346364754}" type="parTrans" cxnId="{17C53607-D46E-4F7B-94F9-9E01343A83C4}">
      <dgm:prSet/>
      <dgm:spPr/>
      <dgm:t>
        <a:bodyPr/>
        <a:lstStyle/>
        <a:p>
          <a:endParaRPr lang="it-IT"/>
        </a:p>
      </dgm:t>
    </dgm:pt>
    <dgm:pt modelId="{2CFFFF1B-CF4B-4177-87B1-951764D0ACA2}" type="sibTrans" cxnId="{17C53607-D46E-4F7B-94F9-9E01343A83C4}">
      <dgm:prSet/>
      <dgm:spPr/>
      <dgm:t>
        <a:bodyPr/>
        <a:lstStyle/>
        <a:p>
          <a:endParaRPr lang="it-IT"/>
        </a:p>
      </dgm:t>
    </dgm:pt>
    <dgm:pt modelId="{D4760713-9565-4058-BBC7-2D360FBEBF1C}">
      <dgm:prSet custT="1"/>
      <dgm:spPr/>
      <dgm:t>
        <a:bodyPr/>
        <a:lstStyle/>
        <a:p>
          <a:pPr rtl="0"/>
          <a:r>
            <a:rPr lang="it-IT" sz="1800" b="1" dirty="0" smtClean="0"/>
            <a:t>3.DTBC (Distretto tecnologico Beni Culturali)</a:t>
          </a:r>
          <a:endParaRPr lang="it-IT" sz="1800" b="1" dirty="0"/>
        </a:p>
      </dgm:t>
    </dgm:pt>
    <dgm:pt modelId="{DC05F96E-5782-4229-8958-49B1CE847A1D}" type="parTrans" cxnId="{4C33A865-0F9E-4215-AB51-8AC6B014F0ED}">
      <dgm:prSet/>
      <dgm:spPr/>
      <dgm:t>
        <a:bodyPr/>
        <a:lstStyle/>
        <a:p>
          <a:endParaRPr lang="it-IT"/>
        </a:p>
      </dgm:t>
    </dgm:pt>
    <dgm:pt modelId="{A3E73CC5-FA32-4245-A382-ED408361EF8C}" type="sibTrans" cxnId="{4C33A865-0F9E-4215-AB51-8AC6B014F0ED}">
      <dgm:prSet/>
      <dgm:spPr/>
      <dgm:t>
        <a:bodyPr/>
        <a:lstStyle/>
        <a:p>
          <a:endParaRPr lang="it-IT"/>
        </a:p>
      </dgm:t>
    </dgm:pt>
    <dgm:pt modelId="{97457D93-8F23-4CA9-9106-ECEF8DC974DA}">
      <dgm:prSet custT="1"/>
      <dgm:spPr/>
      <dgm:t>
        <a:bodyPr/>
        <a:lstStyle/>
        <a:p>
          <a:pPr rtl="0"/>
          <a:r>
            <a:rPr lang="it-IT" sz="1800" b="1" dirty="0" smtClean="0"/>
            <a:t>4. Centro Regionale per la Progettazione e il Restauro</a:t>
          </a:r>
          <a:endParaRPr lang="it-IT" sz="1800" b="1" dirty="0"/>
        </a:p>
      </dgm:t>
    </dgm:pt>
    <dgm:pt modelId="{3BC52B27-FB4B-47F2-A30B-E96F1D8452B6}" type="parTrans" cxnId="{D90C301F-9890-4F8F-A61A-E3E8019B07C4}">
      <dgm:prSet/>
      <dgm:spPr/>
      <dgm:t>
        <a:bodyPr/>
        <a:lstStyle/>
        <a:p>
          <a:endParaRPr lang="it-IT"/>
        </a:p>
      </dgm:t>
    </dgm:pt>
    <dgm:pt modelId="{ADBF216E-D672-47A0-993E-02C8DD66DC0C}" type="sibTrans" cxnId="{D90C301F-9890-4F8F-A61A-E3E8019B07C4}">
      <dgm:prSet/>
      <dgm:spPr/>
      <dgm:t>
        <a:bodyPr/>
        <a:lstStyle/>
        <a:p>
          <a:endParaRPr lang="it-IT"/>
        </a:p>
      </dgm:t>
    </dgm:pt>
    <dgm:pt modelId="{FBF94702-606A-498E-8B59-1266DB22526D}" type="pres">
      <dgm:prSet presAssocID="{E3B7187C-66D1-46C5-8C6D-72B1B685A54D}" presName="linear" presStyleCnt="0">
        <dgm:presLayoutVars>
          <dgm:animLvl val="lvl"/>
          <dgm:resizeHandles val="exact"/>
        </dgm:presLayoutVars>
      </dgm:prSet>
      <dgm:spPr/>
      <dgm:t>
        <a:bodyPr/>
        <a:lstStyle/>
        <a:p>
          <a:endParaRPr lang="it-IT"/>
        </a:p>
      </dgm:t>
    </dgm:pt>
    <dgm:pt modelId="{4683893F-22D4-462E-A938-DA7ED0E0E322}" type="pres">
      <dgm:prSet presAssocID="{8E242049-A322-4485-BEB4-4F80C72F42F4}" presName="parentText" presStyleLbl="node1" presStyleIdx="0" presStyleCnt="4" custScaleX="93729" custScaleY="61953">
        <dgm:presLayoutVars>
          <dgm:chMax val="0"/>
          <dgm:bulletEnabled val="1"/>
        </dgm:presLayoutVars>
      </dgm:prSet>
      <dgm:spPr/>
      <dgm:t>
        <a:bodyPr/>
        <a:lstStyle/>
        <a:p>
          <a:endParaRPr lang="it-IT"/>
        </a:p>
      </dgm:t>
    </dgm:pt>
    <dgm:pt modelId="{84577E91-8F4A-4C02-9B11-568233AFF0D8}" type="pres">
      <dgm:prSet presAssocID="{681FCFDC-26E9-4A3D-AE69-64DDE0606CFC}" presName="spacer" presStyleCnt="0"/>
      <dgm:spPr/>
    </dgm:pt>
    <dgm:pt modelId="{B5FA772C-605D-4298-B138-1135E6D3985D}" type="pres">
      <dgm:prSet presAssocID="{5AB66296-F148-4296-B20E-AC3A446EF30C}" presName="parentText" presStyleLbl="node1" presStyleIdx="1" presStyleCnt="4" custScaleX="93729" custScaleY="61953">
        <dgm:presLayoutVars>
          <dgm:chMax val="0"/>
          <dgm:bulletEnabled val="1"/>
        </dgm:presLayoutVars>
      </dgm:prSet>
      <dgm:spPr/>
      <dgm:t>
        <a:bodyPr/>
        <a:lstStyle/>
        <a:p>
          <a:endParaRPr lang="it-IT"/>
        </a:p>
      </dgm:t>
    </dgm:pt>
    <dgm:pt modelId="{390DA8A5-C087-4236-A2E1-65A24520C435}" type="pres">
      <dgm:prSet presAssocID="{2CFFFF1B-CF4B-4177-87B1-951764D0ACA2}" presName="spacer" presStyleCnt="0"/>
      <dgm:spPr/>
    </dgm:pt>
    <dgm:pt modelId="{5BF0DDB5-C070-4330-80B6-BD6E96BC076B}" type="pres">
      <dgm:prSet presAssocID="{D4760713-9565-4058-BBC7-2D360FBEBF1C}" presName="parentText" presStyleLbl="node1" presStyleIdx="2" presStyleCnt="4" custScaleX="93729" custScaleY="61953">
        <dgm:presLayoutVars>
          <dgm:chMax val="0"/>
          <dgm:bulletEnabled val="1"/>
        </dgm:presLayoutVars>
      </dgm:prSet>
      <dgm:spPr/>
      <dgm:t>
        <a:bodyPr/>
        <a:lstStyle/>
        <a:p>
          <a:endParaRPr lang="it-IT"/>
        </a:p>
      </dgm:t>
    </dgm:pt>
    <dgm:pt modelId="{6ECE89AE-E0E0-45E2-9236-EE5F2AE78900}" type="pres">
      <dgm:prSet presAssocID="{A3E73CC5-FA32-4245-A382-ED408361EF8C}" presName="spacer" presStyleCnt="0"/>
      <dgm:spPr/>
    </dgm:pt>
    <dgm:pt modelId="{F1998AD5-3D91-45B6-A88B-74603FDCE70B}" type="pres">
      <dgm:prSet presAssocID="{97457D93-8F23-4CA9-9106-ECEF8DC974DA}" presName="parentText" presStyleLbl="node1" presStyleIdx="3" presStyleCnt="4" custScaleX="93729" custScaleY="61953">
        <dgm:presLayoutVars>
          <dgm:chMax val="0"/>
          <dgm:bulletEnabled val="1"/>
        </dgm:presLayoutVars>
      </dgm:prSet>
      <dgm:spPr/>
      <dgm:t>
        <a:bodyPr/>
        <a:lstStyle/>
        <a:p>
          <a:endParaRPr lang="it-IT"/>
        </a:p>
      </dgm:t>
    </dgm:pt>
  </dgm:ptLst>
  <dgm:cxnLst>
    <dgm:cxn modelId="{8886683E-AC65-4541-81D8-FD8A10981CD3}" srcId="{E3B7187C-66D1-46C5-8C6D-72B1B685A54D}" destId="{8E242049-A322-4485-BEB4-4F80C72F42F4}" srcOrd="0" destOrd="0" parTransId="{A37563D4-0A6A-472C-B6C0-E6070FE276B8}" sibTransId="{681FCFDC-26E9-4A3D-AE69-64DDE0606CFC}"/>
    <dgm:cxn modelId="{00C7599A-B371-4F4E-905D-BD8D17A9ACB2}" type="presOf" srcId="{D4760713-9565-4058-BBC7-2D360FBEBF1C}" destId="{5BF0DDB5-C070-4330-80B6-BD6E96BC076B}" srcOrd="0" destOrd="0" presId="urn:microsoft.com/office/officeart/2005/8/layout/vList2"/>
    <dgm:cxn modelId="{9EA24F83-5A3A-4E81-875A-2AF0AB2D379F}" type="presOf" srcId="{E3B7187C-66D1-46C5-8C6D-72B1B685A54D}" destId="{FBF94702-606A-498E-8B59-1266DB22526D}" srcOrd="0" destOrd="0" presId="urn:microsoft.com/office/officeart/2005/8/layout/vList2"/>
    <dgm:cxn modelId="{17C53607-D46E-4F7B-94F9-9E01343A83C4}" srcId="{E3B7187C-66D1-46C5-8C6D-72B1B685A54D}" destId="{5AB66296-F148-4296-B20E-AC3A446EF30C}" srcOrd="1" destOrd="0" parTransId="{65FDDD5D-347F-4885-8CB9-C4B346364754}" sibTransId="{2CFFFF1B-CF4B-4177-87B1-951764D0ACA2}"/>
    <dgm:cxn modelId="{D90C301F-9890-4F8F-A61A-E3E8019B07C4}" srcId="{E3B7187C-66D1-46C5-8C6D-72B1B685A54D}" destId="{97457D93-8F23-4CA9-9106-ECEF8DC974DA}" srcOrd="3" destOrd="0" parTransId="{3BC52B27-FB4B-47F2-A30B-E96F1D8452B6}" sibTransId="{ADBF216E-D672-47A0-993E-02C8DD66DC0C}"/>
    <dgm:cxn modelId="{A98CB9A0-5813-432C-AF2F-DFBCE5AE60E8}" type="presOf" srcId="{97457D93-8F23-4CA9-9106-ECEF8DC974DA}" destId="{F1998AD5-3D91-45B6-A88B-74603FDCE70B}" srcOrd="0" destOrd="0" presId="urn:microsoft.com/office/officeart/2005/8/layout/vList2"/>
    <dgm:cxn modelId="{AFE71C71-886A-4DDF-A54D-E8DD4720CC2B}" type="presOf" srcId="{8E242049-A322-4485-BEB4-4F80C72F42F4}" destId="{4683893F-22D4-462E-A938-DA7ED0E0E322}" srcOrd="0" destOrd="0" presId="urn:microsoft.com/office/officeart/2005/8/layout/vList2"/>
    <dgm:cxn modelId="{2AAB852A-8136-4A09-A60D-D2715704B872}" type="presOf" srcId="{5AB66296-F148-4296-B20E-AC3A446EF30C}" destId="{B5FA772C-605D-4298-B138-1135E6D3985D}" srcOrd="0" destOrd="0" presId="urn:microsoft.com/office/officeart/2005/8/layout/vList2"/>
    <dgm:cxn modelId="{4C33A865-0F9E-4215-AB51-8AC6B014F0ED}" srcId="{E3B7187C-66D1-46C5-8C6D-72B1B685A54D}" destId="{D4760713-9565-4058-BBC7-2D360FBEBF1C}" srcOrd="2" destOrd="0" parTransId="{DC05F96E-5782-4229-8958-49B1CE847A1D}" sibTransId="{A3E73CC5-FA32-4245-A382-ED408361EF8C}"/>
    <dgm:cxn modelId="{4AD71B52-70AC-4C5C-BA49-8BA6CB05BCC1}" type="presParOf" srcId="{FBF94702-606A-498E-8B59-1266DB22526D}" destId="{4683893F-22D4-462E-A938-DA7ED0E0E322}" srcOrd="0" destOrd="0" presId="urn:microsoft.com/office/officeart/2005/8/layout/vList2"/>
    <dgm:cxn modelId="{124BFE13-B80C-42E1-A5AD-FF878115A2D4}" type="presParOf" srcId="{FBF94702-606A-498E-8B59-1266DB22526D}" destId="{84577E91-8F4A-4C02-9B11-568233AFF0D8}" srcOrd="1" destOrd="0" presId="urn:microsoft.com/office/officeart/2005/8/layout/vList2"/>
    <dgm:cxn modelId="{AEC955FE-4CCC-44B9-B377-FB716DF69A59}" type="presParOf" srcId="{FBF94702-606A-498E-8B59-1266DB22526D}" destId="{B5FA772C-605D-4298-B138-1135E6D3985D}" srcOrd="2" destOrd="0" presId="urn:microsoft.com/office/officeart/2005/8/layout/vList2"/>
    <dgm:cxn modelId="{9598F91E-DA60-43B5-B093-0B8320EE5DE1}" type="presParOf" srcId="{FBF94702-606A-498E-8B59-1266DB22526D}" destId="{390DA8A5-C087-4236-A2E1-65A24520C435}" srcOrd="3" destOrd="0" presId="urn:microsoft.com/office/officeart/2005/8/layout/vList2"/>
    <dgm:cxn modelId="{4A069E9D-E3C6-4B13-8B8B-EA032E17736F}" type="presParOf" srcId="{FBF94702-606A-498E-8B59-1266DB22526D}" destId="{5BF0DDB5-C070-4330-80B6-BD6E96BC076B}" srcOrd="4" destOrd="0" presId="urn:microsoft.com/office/officeart/2005/8/layout/vList2"/>
    <dgm:cxn modelId="{191AA333-481A-44D0-994A-CEF7633E114A}" type="presParOf" srcId="{FBF94702-606A-498E-8B59-1266DB22526D}" destId="{6ECE89AE-E0E0-45E2-9236-EE5F2AE78900}" srcOrd="5" destOrd="0" presId="urn:microsoft.com/office/officeart/2005/8/layout/vList2"/>
    <dgm:cxn modelId="{7716AE56-CC6D-48AB-8EB7-3331B42EB56B}" type="presParOf" srcId="{FBF94702-606A-498E-8B59-1266DB22526D}" destId="{F1998AD5-3D91-45B6-A88B-74603FDCE70B}" srcOrd="6"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91.xml><?xml version="1.0" encoding="utf-8"?>
<dgm:dataModel xmlns:dgm="http://schemas.openxmlformats.org/drawingml/2006/diagram" xmlns:a="http://schemas.openxmlformats.org/drawingml/2006/main">
  <dgm:ptLst>
    <dgm:pt modelId="{E3B7187C-66D1-46C5-8C6D-72B1B685A54D}" type="doc">
      <dgm:prSet loTypeId="urn:microsoft.com/office/officeart/2005/8/layout/vList2" loCatId="list" qsTypeId="urn:microsoft.com/office/officeart/2005/8/quickstyle/simple1" qsCatId="simple" csTypeId="urn:microsoft.com/office/officeart/2005/8/colors/accent6_1" csCatId="accent6" phldr="1"/>
      <dgm:spPr/>
      <dgm:t>
        <a:bodyPr/>
        <a:lstStyle/>
        <a:p>
          <a:endParaRPr lang="it-IT"/>
        </a:p>
      </dgm:t>
    </dgm:pt>
    <dgm:pt modelId="{5AB66296-F148-4296-B20E-AC3A446EF30C}">
      <dgm:prSet custT="1"/>
      <dgm:spPr/>
      <dgm:t>
        <a:bodyPr/>
        <a:lstStyle/>
        <a:p>
          <a:pPr rtl="0"/>
          <a:r>
            <a:rPr lang="it-IT" sz="1200" b="1" dirty="0" smtClean="0"/>
            <a:t>IBAM – Istituto per i Beni archeologi e monumentali </a:t>
          </a:r>
          <a:endParaRPr lang="it-IT" sz="1200" b="1" dirty="0"/>
        </a:p>
      </dgm:t>
    </dgm:pt>
    <dgm:pt modelId="{65FDDD5D-347F-4885-8CB9-C4B346364754}" type="parTrans" cxnId="{17C53607-D46E-4F7B-94F9-9E01343A83C4}">
      <dgm:prSet/>
      <dgm:spPr/>
      <dgm:t>
        <a:bodyPr/>
        <a:lstStyle/>
        <a:p>
          <a:endParaRPr lang="it-IT"/>
        </a:p>
      </dgm:t>
    </dgm:pt>
    <dgm:pt modelId="{2CFFFF1B-CF4B-4177-87B1-951764D0ACA2}" type="sibTrans" cxnId="{17C53607-D46E-4F7B-94F9-9E01343A83C4}">
      <dgm:prSet/>
      <dgm:spPr/>
      <dgm:t>
        <a:bodyPr/>
        <a:lstStyle/>
        <a:p>
          <a:endParaRPr lang="it-IT"/>
        </a:p>
      </dgm:t>
    </dgm:pt>
    <dgm:pt modelId="{E68F9950-28EA-4087-BECB-DD2F08D245D7}">
      <dgm:prSet custT="1"/>
      <dgm:spPr/>
      <dgm:t>
        <a:bodyPr/>
        <a:lstStyle/>
        <a:p>
          <a:r>
            <a:rPr lang="it-IT" sz="1200" b="1" dirty="0" smtClean="0"/>
            <a:t>ICB - Istituto di chimica biomolecolare </a:t>
          </a:r>
          <a:endParaRPr lang="it-IT" sz="1200" b="1" dirty="0"/>
        </a:p>
      </dgm:t>
    </dgm:pt>
    <dgm:pt modelId="{D79743ED-5C1C-409E-9725-9F36EFC0E7EF}" type="parTrans" cxnId="{CB761FD3-02CC-4FCF-9043-7726F6CFB990}">
      <dgm:prSet/>
      <dgm:spPr/>
      <dgm:t>
        <a:bodyPr/>
        <a:lstStyle/>
        <a:p>
          <a:endParaRPr lang="it-IT"/>
        </a:p>
      </dgm:t>
    </dgm:pt>
    <dgm:pt modelId="{3A69D673-F826-414B-B54E-E24A2F02B14A}" type="sibTrans" cxnId="{CB761FD3-02CC-4FCF-9043-7726F6CFB990}">
      <dgm:prSet/>
      <dgm:spPr/>
      <dgm:t>
        <a:bodyPr/>
        <a:lstStyle/>
        <a:p>
          <a:endParaRPr lang="it-IT"/>
        </a:p>
      </dgm:t>
    </dgm:pt>
    <dgm:pt modelId="{6E55978B-2D8E-41C5-936B-489AEC9928EA}">
      <dgm:prSet custT="1"/>
      <dgm:spPr/>
      <dgm:t>
        <a:bodyPr/>
        <a:lstStyle/>
        <a:p>
          <a:r>
            <a:rPr lang="it-IT" sz="1200" b="1" dirty="0" smtClean="0"/>
            <a:t>ICTP – Istituto per la chimica e la tecnologia dei materiali polimerici </a:t>
          </a:r>
          <a:endParaRPr lang="it-IT" sz="1200" b="1" dirty="0"/>
        </a:p>
      </dgm:t>
    </dgm:pt>
    <dgm:pt modelId="{800DF24F-E178-451C-8AE9-0B406F8F8850}" type="parTrans" cxnId="{39BB2E7F-00C0-4AF1-B332-8A538A7FDA8E}">
      <dgm:prSet/>
      <dgm:spPr/>
      <dgm:t>
        <a:bodyPr/>
        <a:lstStyle/>
        <a:p>
          <a:endParaRPr lang="it-IT"/>
        </a:p>
      </dgm:t>
    </dgm:pt>
    <dgm:pt modelId="{0E31D37F-3EC4-4433-8B02-BF12745173BA}" type="sibTrans" cxnId="{39BB2E7F-00C0-4AF1-B332-8A538A7FDA8E}">
      <dgm:prSet/>
      <dgm:spPr/>
      <dgm:t>
        <a:bodyPr/>
        <a:lstStyle/>
        <a:p>
          <a:endParaRPr lang="it-IT"/>
        </a:p>
      </dgm:t>
    </dgm:pt>
    <dgm:pt modelId="{00C6A700-C47B-4AF2-8AE0-B755FDDB42D9}">
      <dgm:prSet custT="1"/>
      <dgm:spPr/>
      <dgm:t>
        <a:bodyPr/>
        <a:lstStyle/>
        <a:p>
          <a:r>
            <a:rPr lang="it-IT" sz="1200" b="1" dirty="0" smtClean="0"/>
            <a:t>IPCF – Istituto per i processi chimico fisici </a:t>
          </a:r>
          <a:endParaRPr lang="it-IT" sz="1200" b="1" dirty="0"/>
        </a:p>
      </dgm:t>
    </dgm:pt>
    <dgm:pt modelId="{A6381F9D-4CFE-41A6-8DA2-0266B8B5953E}" type="parTrans" cxnId="{68B57484-8752-46FA-8E63-1AF19617FC44}">
      <dgm:prSet/>
      <dgm:spPr/>
      <dgm:t>
        <a:bodyPr/>
        <a:lstStyle/>
        <a:p>
          <a:endParaRPr lang="it-IT"/>
        </a:p>
      </dgm:t>
    </dgm:pt>
    <dgm:pt modelId="{8A3B8B2E-C890-418E-8FCD-E79499E7F5F5}" type="sibTrans" cxnId="{68B57484-8752-46FA-8E63-1AF19617FC44}">
      <dgm:prSet/>
      <dgm:spPr/>
      <dgm:t>
        <a:bodyPr/>
        <a:lstStyle/>
        <a:p>
          <a:endParaRPr lang="it-IT"/>
        </a:p>
      </dgm:t>
    </dgm:pt>
    <dgm:pt modelId="{F312839B-FD3E-4643-BD25-58D033130052}">
      <dgm:prSet custT="1"/>
      <dgm:spPr/>
      <dgm:t>
        <a:bodyPr/>
        <a:lstStyle/>
        <a:p>
          <a:r>
            <a:rPr lang="it-IT" sz="1200" b="1" dirty="0" smtClean="0"/>
            <a:t>ISMN – Istituto Materiali Nano-strutturati </a:t>
          </a:r>
          <a:endParaRPr lang="it-IT" sz="1200" b="1" dirty="0"/>
        </a:p>
      </dgm:t>
    </dgm:pt>
    <dgm:pt modelId="{31C63AF2-3C9D-44BB-A2FF-CB180CB61D60}" type="parTrans" cxnId="{7BE388DA-04C2-4CF4-85E4-93783AE9772D}">
      <dgm:prSet/>
      <dgm:spPr/>
      <dgm:t>
        <a:bodyPr/>
        <a:lstStyle/>
        <a:p>
          <a:endParaRPr lang="it-IT"/>
        </a:p>
      </dgm:t>
    </dgm:pt>
    <dgm:pt modelId="{2B3C347B-3ECE-4B81-B5B1-DF8C0BE138E7}" type="sibTrans" cxnId="{7BE388DA-04C2-4CF4-85E4-93783AE9772D}">
      <dgm:prSet/>
      <dgm:spPr/>
      <dgm:t>
        <a:bodyPr/>
        <a:lstStyle/>
        <a:p>
          <a:endParaRPr lang="it-IT"/>
        </a:p>
      </dgm:t>
    </dgm:pt>
    <dgm:pt modelId="{FBF94702-606A-498E-8B59-1266DB22526D}" type="pres">
      <dgm:prSet presAssocID="{E3B7187C-66D1-46C5-8C6D-72B1B685A54D}" presName="linear" presStyleCnt="0">
        <dgm:presLayoutVars>
          <dgm:animLvl val="lvl"/>
          <dgm:resizeHandles val="exact"/>
        </dgm:presLayoutVars>
      </dgm:prSet>
      <dgm:spPr/>
      <dgm:t>
        <a:bodyPr/>
        <a:lstStyle/>
        <a:p>
          <a:endParaRPr lang="it-IT"/>
        </a:p>
      </dgm:t>
    </dgm:pt>
    <dgm:pt modelId="{B5FA772C-605D-4298-B138-1135E6D3985D}" type="pres">
      <dgm:prSet presAssocID="{5AB66296-F148-4296-B20E-AC3A446EF30C}" presName="parentText" presStyleLbl="node1" presStyleIdx="0" presStyleCnt="5" custScaleX="100000" custScaleY="99699">
        <dgm:presLayoutVars>
          <dgm:chMax val="0"/>
          <dgm:bulletEnabled val="1"/>
        </dgm:presLayoutVars>
      </dgm:prSet>
      <dgm:spPr/>
      <dgm:t>
        <a:bodyPr/>
        <a:lstStyle/>
        <a:p>
          <a:endParaRPr lang="it-IT"/>
        </a:p>
      </dgm:t>
    </dgm:pt>
    <dgm:pt modelId="{390DA8A5-C087-4236-A2E1-65A24520C435}" type="pres">
      <dgm:prSet presAssocID="{2CFFFF1B-CF4B-4177-87B1-951764D0ACA2}" presName="spacer" presStyleCnt="0"/>
      <dgm:spPr/>
    </dgm:pt>
    <dgm:pt modelId="{AC9D9F90-BE6F-4161-86A2-715ABD147F08}" type="pres">
      <dgm:prSet presAssocID="{E68F9950-28EA-4087-BECB-DD2F08D245D7}" presName="parentText" presStyleLbl="node1" presStyleIdx="1" presStyleCnt="5" custScaleY="100692">
        <dgm:presLayoutVars>
          <dgm:chMax val="0"/>
          <dgm:bulletEnabled val="1"/>
        </dgm:presLayoutVars>
      </dgm:prSet>
      <dgm:spPr/>
      <dgm:t>
        <a:bodyPr/>
        <a:lstStyle/>
        <a:p>
          <a:endParaRPr lang="it-IT"/>
        </a:p>
      </dgm:t>
    </dgm:pt>
    <dgm:pt modelId="{58968802-24C7-4144-821B-19AAC43F2A5B}" type="pres">
      <dgm:prSet presAssocID="{3A69D673-F826-414B-B54E-E24A2F02B14A}" presName="spacer" presStyleCnt="0"/>
      <dgm:spPr/>
    </dgm:pt>
    <dgm:pt modelId="{5A9370E0-44E7-4D8C-BB30-330A397EAA1B}" type="pres">
      <dgm:prSet presAssocID="{6E55978B-2D8E-41C5-936B-489AEC9928EA}" presName="parentText" presStyleLbl="node1" presStyleIdx="2" presStyleCnt="5" custScaleY="100692">
        <dgm:presLayoutVars>
          <dgm:chMax val="0"/>
          <dgm:bulletEnabled val="1"/>
        </dgm:presLayoutVars>
      </dgm:prSet>
      <dgm:spPr/>
      <dgm:t>
        <a:bodyPr/>
        <a:lstStyle/>
        <a:p>
          <a:endParaRPr lang="it-IT"/>
        </a:p>
      </dgm:t>
    </dgm:pt>
    <dgm:pt modelId="{E4356C1A-14A7-4664-BCAF-A486CC03F239}" type="pres">
      <dgm:prSet presAssocID="{0E31D37F-3EC4-4433-8B02-BF12745173BA}" presName="spacer" presStyleCnt="0"/>
      <dgm:spPr/>
    </dgm:pt>
    <dgm:pt modelId="{9AEB00D8-1E9C-4DAB-B5BB-98BEE30A141E}" type="pres">
      <dgm:prSet presAssocID="{00C6A700-C47B-4AF2-8AE0-B755FDDB42D9}" presName="parentText" presStyleLbl="node1" presStyleIdx="3" presStyleCnt="5" custScaleY="100692">
        <dgm:presLayoutVars>
          <dgm:chMax val="0"/>
          <dgm:bulletEnabled val="1"/>
        </dgm:presLayoutVars>
      </dgm:prSet>
      <dgm:spPr/>
      <dgm:t>
        <a:bodyPr/>
        <a:lstStyle/>
        <a:p>
          <a:endParaRPr lang="it-IT"/>
        </a:p>
      </dgm:t>
    </dgm:pt>
    <dgm:pt modelId="{F1540E1B-C84C-46F0-AB33-1165C5148AD3}" type="pres">
      <dgm:prSet presAssocID="{8A3B8B2E-C890-418E-8FCD-E79499E7F5F5}" presName="spacer" presStyleCnt="0"/>
      <dgm:spPr/>
    </dgm:pt>
    <dgm:pt modelId="{5230E8AA-9BAB-4DEE-98E1-B5740199F8C0}" type="pres">
      <dgm:prSet presAssocID="{F312839B-FD3E-4643-BD25-58D033130052}" presName="parentText" presStyleLbl="node1" presStyleIdx="4" presStyleCnt="5" custScaleY="100692">
        <dgm:presLayoutVars>
          <dgm:chMax val="0"/>
          <dgm:bulletEnabled val="1"/>
        </dgm:presLayoutVars>
      </dgm:prSet>
      <dgm:spPr/>
      <dgm:t>
        <a:bodyPr/>
        <a:lstStyle/>
        <a:p>
          <a:endParaRPr lang="it-IT"/>
        </a:p>
      </dgm:t>
    </dgm:pt>
  </dgm:ptLst>
  <dgm:cxnLst>
    <dgm:cxn modelId="{4B563849-B5AD-43BC-9BD3-11299794AE07}" type="presOf" srcId="{00C6A700-C47B-4AF2-8AE0-B755FDDB42D9}" destId="{9AEB00D8-1E9C-4DAB-B5BB-98BEE30A141E}" srcOrd="0" destOrd="0" presId="urn:microsoft.com/office/officeart/2005/8/layout/vList2"/>
    <dgm:cxn modelId="{68B57484-8752-46FA-8E63-1AF19617FC44}" srcId="{E3B7187C-66D1-46C5-8C6D-72B1B685A54D}" destId="{00C6A700-C47B-4AF2-8AE0-B755FDDB42D9}" srcOrd="3" destOrd="0" parTransId="{A6381F9D-4CFE-41A6-8DA2-0266B8B5953E}" sibTransId="{8A3B8B2E-C890-418E-8FCD-E79499E7F5F5}"/>
    <dgm:cxn modelId="{FF1F9345-BF49-4E9A-B0F4-6F1775862629}" type="presOf" srcId="{6E55978B-2D8E-41C5-936B-489AEC9928EA}" destId="{5A9370E0-44E7-4D8C-BB30-330A397EAA1B}" srcOrd="0" destOrd="0" presId="urn:microsoft.com/office/officeart/2005/8/layout/vList2"/>
    <dgm:cxn modelId="{33A70EFC-F805-404B-B6DA-F483DF3C06E5}" type="presOf" srcId="{F312839B-FD3E-4643-BD25-58D033130052}" destId="{5230E8AA-9BAB-4DEE-98E1-B5740199F8C0}" srcOrd="0" destOrd="0" presId="urn:microsoft.com/office/officeart/2005/8/layout/vList2"/>
    <dgm:cxn modelId="{A5394A0F-A9D3-474A-9B44-B3398E4B21BC}" type="presOf" srcId="{E3B7187C-66D1-46C5-8C6D-72B1B685A54D}" destId="{FBF94702-606A-498E-8B59-1266DB22526D}" srcOrd="0" destOrd="0" presId="urn:microsoft.com/office/officeart/2005/8/layout/vList2"/>
    <dgm:cxn modelId="{39BB2E7F-00C0-4AF1-B332-8A538A7FDA8E}" srcId="{E3B7187C-66D1-46C5-8C6D-72B1B685A54D}" destId="{6E55978B-2D8E-41C5-936B-489AEC9928EA}" srcOrd="2" destOrd="0" parTransId="{800DF24F-E178-451C-8AE9-0B406F8F8850}" sibTransId="{0E31D37F-3EC4-4433-8B02-BF12745173BA}"/>
    <dgm:cxn modelId="{CB761FD3-02CC-4FCF-9043-7726F6CFB990}" srcId="{E3B7187C-66D1-46C5-8C6D-72B1B685A54D}" destId="{E68F9950-28EA-4087-BECB-DD2F08D245D7}" srcOrd="1" destOrd="0" parTransId="{D79743ED-5C1C-409E-9725-9F36EFC0E7EF}" sibTransId="{3A69D673-F826-414B-B54E-E24A2F02B14A}"/>
    <dgm:cxn modelId="{17C53607-D46E-4F7B-94F9-9E01343A83C4}" srcId="{E3B7187C-66D1-46C5-8C6D-72B1B685A54D}" destId="{5AB66296-F148-4296-B20E-AC3A446EF30C}" srcOrd="0" destOrd="0" parTransId="{65FDDD5D-347F-4885-8CB9-C4B346364754}" sibTransId="{2CFFFF1B-CF4B-4177-87B1-951764D0ACA2}"/>
    <dgm:cxn modelId="{8AD76EF0-343D-4C56-9DD4-0911AE1EF10F}" type="presOf" srcId="{E68F9950-28EA-4087-BECB-DD2F08D245D7}" destId="{AC9D9F90-BE6F-4161-86A2-715ABD147F08}" srcOrd="0" destOrd="0" presId="urn:microsoft.com/office/officeart/2005/8/layout/vList2"/>
    <dgm:cxn modelId="{69AB6CF1-CA17-494C-A633-55469B1E6238}" type="presOf" srcId="{5AB66296-F148-4296-B20E-AC3A446EF30C}" destId="{B5FA772C-605D-4298-B138-1135E6D3985D}" srcOrd="0" destOrd="0" presId="urn:microsoft.com/office/officeart/2005/8/layout/vList2"/>
    <dgm:cxn modelId="{7BE388DA-04C2-4CF4-85E4-93783AE9772D}" srcId="{E3B7187C-66D1-46C5-8C6D-72B1B685A54D}" destId="{F312839B-FD3E-4643-BD25-58D033130052}" srcOrd="4" destOrd="0" parTransId="{31C63AF2-3C9D-44BB-A2FF-CB180CB61D60}" sibTransId="{2B3C347B-3ECE-4B81-B5B1-DF8C0BE138E7}"/>
    <dgm:cxn modelId="{D27CC4C9-AA10-45EF-B2F4-8D1F39CD68E0}" type="presParOf" srcId="{FBF94702-606A-498E-8B59-1266DB22526D}" destId="{B5FA772C-605D-4298-B138-1135E6D3985D}" srcOrd="0" destOrd="0" presId="urn:microsoft.com/office/officeart/2005/8/layout/vList2"/>
    <dgm:cxn modelId="{A29EA048-C0AD-4F7C-B3A9-364E2BDEFD73}" type="presParOf" srcId="{FBF94702-606A-498E-8B59-1266DB22526D}" destId="{390DA8A5-C087-4236-A2E1-65A24520C435}" srcOrd="1" destOrd="0" presId="urn:microsoft.com/office/officeart/2005/8/layout/vList2"/>
    <dgm:cxn modelId="{DD8087BE-79EE-4180-AA7B-5C8F827A3149}" type="presParOf" srcId="{FBF94702-606A-498E-8B59-1266DB22526D}" destId="{AC9D9F90-BE6F-4161-86A2-715ABD147F08}" srcOrd="2" destOrd="0" presId="urn:microsoft.com/office/officeart/2005/8/layout/vList2"/>
    <dgm:cxn modelId="{C010CABC-E0EB-4FF3-903C-6839C0BE6553}" type="presParOf" srcId="{FBF94702-606A-498E-8B59-1266DB22526D}" destId="{58968802-24C7-4144-821B-19AAC43F2A5B}" srcOrd="3" destOrd="0" presId="urn:microsoft.com/office/officeart/2005/8/layout/vList2"/>
    <dgm:cxn modelId="{308D8660-84D9-4292-8999-370DBFA9BB5D}" type="presParOf" srcId="{FBF94702-606A-498E-8B59-1266DB22526D}" destId="{5A9370E0-44E7-4D8C-BB30-330A397EAA1B}" srcOrd="4" destOrd="0" presId="urn:microsoft.com/office/officeart/2005/8/layout/vList2"/>
    <dgm:cxn modelId="{13BB4541-2C37-475F-BA82-DD1E0C8B7906}" type="presParOf" srcId="{FBF94702-606A-498E-8B59-1266DB22526D}" destId="{E4356C1A-14A7-4664-BCAF-A486CC03F239}" srcOrd="5" destOrd="0" presId="urn:microsoft.com/office/officeart/2005/8/layout/vList2"/>
    <dgm:cxn modelId="{E53534A5-D79D-4CDD-B83A-6C14A489B7A2}" type="presParOf" srcId="{FBF94702-606A-498E-8B59-1266DB22526D}" destId="{9AEB00D8-1E9C-4DAB-B5BB-98BEE30A141E}" srcOrd="6" destOrd="0" presId="urn:microsoft.com/office/officeart/2005/8/layout/vList2"/>
    <dgm:cxn modelId="{9504C05C-1E48-4CC7-8DEB-03B5464517ED}" type="presParOf" srcId="{FBF94702-606A-498E-8B59-1266DB22526D}" destId="{F1540E1B-C84C-46F0-AB33-1165C5148AD3}" srcOrd="7" destOrd="0" presId="urn:microsoft.com/office/officeart/2005/8/layout/vList2"/>
    <dgm:cxn modelId="{D7742CB7-76C9-4CDC-9BC3-56862262E8DC}" type="presParOf" srcId="{FBF94702-606A-498E-8B59-1266DB22526D}" destId="{5230E8AA-9BAB-4DEE-98E1-B5740199F8C0}" srcOrd="8" destOrd="0" presId="urn:microsoft.com/office/officeart/2005/8/layout/vList2"/>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92.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rtl="0"/>
          <a:r>
            <a:rPr lang="it-IT" sz="1400" b="1" dirty="0" smtClean="0">
              <a:effectLst>
                <a:outerShdw blurRad="38100" dist="38100" dir="2700000" algn="tl">
                  <a:srgbClr val="000000">
                    <a:alpha val="43137"/>
                  </a:srgbClr>
                </a:outerShdw>
              </a:effectLst>
            </a:rPr>
            <a:t>2. Sistema delle conoscenze</a:t>
          </a:r>
          <a:endParaRPr lang="it-IT" sz="14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07DB3FF4-6499-41D3-AD4A-8BEBBB9D6F88}" type="presOf" srcId="{E4C7AF03-E2BD-4E48-8DAB-C1261D3D7EA9}" destId="{21D380AD-5D38-4835-9FB5-615E5454C686}" srcOrd="1" destOrd="0" presId="urn:microsoft.com/office/officeart/2005/8/layout/list1"/>
    <dgm:cxn modelId="{CC30509B-2090-4779-A090-5E693B9CF81A}" type="presOf" srcId="{E4C7AF03-E2BD-4E48-8DAB-C1261D3D7EA9}" destId="{03DB856F-DE91-4CA0-AD05-B356DE21BFDC}" srcOrd="0" destOrd="0" presId="urn:microsoft.com/office/officeart/2005/8/layout/list1"/>
    <dgm:cxn modelId="{6A0B12E1-2784-4522-8ADD-4F9B0553506F}" type="presOf" srcId="{188FD03C-7D6A-4D29-8FCB-9C1383057E36}" destId="{C08F212E-D010-4B1B-884C-243E8BB88BD2}"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40D90624-53E7-408C-AF81-943596E062B6}" type="presParOf" srcId="{C08F212E-D010-4B1B-884C-243E8BB88BD2}" destId="{A042C0D5-6636-40E8-83EA-703099528EDB}" srcOrd="0" destOrd="0" presId="urn:microsoft.com/office/officeart/2005/8/layout/list1"/>
    <dgm:cxn modelId="{362FF4F4-BFB1-4C0C-98D2-0E61F947EBF9}" type="presParOf" srcId="{A042C0D5-6636-40E8-83EA-703099528EDB}" destId="{03DB856F-DE91-4CA0-AD05-B356DE21BFDC}" srcOrd="0" destOrd="0" presId="urn:microsoft.com/office/officeart/2005/8/layout/list1"/>
    <dgm:cxn modelId="{8ABA8E52-AF5C-4617-BA34-988C27166E88}" type="presParOf" srcId="{A042C0D5-6636-40E8-83EA-703099528EDB}" destId="{21D380AD-5D38-4835-9FB5-615E5454C686}" srcOrd="1" destOrd="0" presId="urn:microsoft.com/office/officeart/2005/8/layout/list1"/>
    <dgm:cxn modelId="{DC68C58A-163C-4351-BA64-87404AEC4E76}" type="presParOf" srcId="{C08F212E-D010-4B1B-884C-243E8BB88BD2}" destId="{E77B3B8A-36B6-4AF7-9D59-DF889FA8E07C}" srcOrd="1" destOrd="0" presId="urn:microsoft.com/office/officeart/2005/8/layout/list1"/>
    <dgm:cxn modelId="{6F83317D-12A0-4BE2-B209-57655E08DB81}"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3.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Competenze scientifiche  e tecnologiche</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689AB522-DD8B-4E86-B327-45DE0B33DED1}" type="presOf" srcId="{72D59079-C521-4525-81A4-701D931A8233}" destId="{9CE9EFE3-4E69-404A-8A99-59388A9E3922}" srcOrd="0" destOrd="0" presId="urn:microsoft.com/office/officeart/2005/8/layout/chevronAccent+Icon"/>
    <dgm:cxn modelId="{B49646EF-25D1-4872-A62F-47266BFD71CE}" type="presOf" srcId="{9AF403A6-2C5C-4F1B-B787-47496D3DBC71}" destId="{639FA514-32E4-4E31-8688-3C040A3F30E9}" srcOrd="0" destOrd="0" presId="urn:microsoft.com/office/officeart/2005/8/layout/chevronAccent+Icon"/>
    <dgm:cxn modelId="{C75C52FA-7B22-403F-92ED-BDCFA26B091A}" type="presParOf" srcId="{639FA514-32E4-4E31-8688-3C040A3F30E9}" destId="{F100BA9B-D4E3-421F-B5D8-42E4C50A115C}" srcOrd="0" destOrd="0" presId="urn:microsoft.com/office/officeart/2005/8/layout/chevronAccent+Icon"/>
    <dgm:cxn modelId="{2720BB50-BA80-410C-BF6E-E3C724DC956D}" type="presParOf" srcId="{F100BA9B-D4E3-421F-B5D8-42E4C50A115C}" destId="{51AD98A5-0898-43D1-8FB1-9AA58104A73C}" srcOrd="0" destOrd="0" presId="urn:microsoft.com/office/officeart/2005/8/layout/chevronAccent+Icon"/>
    <dgm:cxn modelId="{5A9ACA43-DC98-4FE8-9B16-3E533C721CB6}"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4.xml><?xml version="1.0" encoding="utf-8"?>
<dgm:dataModel xmlns:dgm="http://schemas.openxmlformats.org/drawingml/2006/diagram" xmlns:a="http://schemas.openxmlformats.org/drawingml/2006/main">
  <dgm:ptLst>
    <dgm:pt modelId="{FBAA20B3-1DE5-468E-B6D5-C519275B5509}" type="doc">
      <dgm:prSet loTypeId="urn:microsoft.com/office/officeart/2008/layout/LinedList" loCatId="list" qsTypeId="urn:microsoft.com/office/officeart/2005/8/quickstyle/simple1" qsCatId="simple" csTypeId="urn:microsoft.com/office/officeart/2005/8/colors/accent6_1" csCatId="accent6"/>
      <dgm:spPr/>
      <dgm:t>
        <a:bodyPr/>
        <a:lstStyle/>
        <a:p>
          <a:endParaRPr lang="it-IT"/>
        </a:p>
      </dgm:t>
    </dgm:pt>
    <dgm:pt modelId="{A50249A6-1D83-4A2F-9B55-3AFE13CD5E2C}">
      <dgm:prSet/>
      <dgm:spPr/>
      <dgm:t>
        <a:bodyPr/>
        <a:lstStyle/>
        <a:p>
          <a:pPr rtl="0"/>
          <a:r>
            <a:rPr lang="it-IT" b="1" dirty="0" smtClean="0">
              <a:solidFill>
                <a:schemeClr val="accent6">
                  <a:lumMod val="75000"/>
                </a:schemeClr>
              </a:solidFill>
            </a:rPr>
            <a:t>Competenze dei distretti turistici (acquisire dati)</a:t>
          </a:r>
          <a:endParaRPr lang="it-IT" b="1" dirty="0">
            <a:solidFill>
              <a:schemeClr val="accent6">
                <a:lumMod val="75000"/>
              </a:schemeClr>
            </a:solidFill>
          </a:endParaRPr>
        </a:p>
      </dgm:t>
    </dgm:pt>
    <dgm:pt modelId="{283A074F-2E80-4889-BA57-9DDA1D3A5155}" type="parTrans" cxnId="{6E093A30-5E85-4473-90F9-8ACD1D253868}">
      <dgm:prSet/>
      <dgm:spPr/>
      <dgm:t>
        <a:bodyPr/>
        <a:lstStyle/>
        <a:p>
          <a:endParaRPr lang="it-IT"/>
        </a:p>
      </dgm:t>
    </dgm:pt>
    <dgm:pt modelId="{0D8501C4-F006-40B5-81A5-341D21EFF758}" type="sibTrans" cxnId="{6E093A30-5E85-4473-90F9-8ACD1D253868}">
      <dgm:prSet/>
      <dgm:spPr/>
      <dgm:t>
        <a:bodyPr/>
        <a:lstStyle/>
        <a:p>
          <a:endParaRPr lang="it-IT"/>
        </a:p>
      </dgm:t>
    </dgm:pt>
    <dgm:pt modelId="{C325F778-14EE-4796-B0A7-1FE76B036DE3}" type="pres">
      <dgm:prSet presAssocID="{FBAA20B3-1DE5-468E-B6D5-C519275B5509}" presName="vert0" presStyleCnt="0">
        <dgm:presLayoutVars>
          <dgm:dir/>
          <dgm:animOne val="branch"/>
          <dgm:animLvl val="lvl"/>
        </dgm:presLayoutVars>
      </dgm:prSet>
      <dgm:spPr/>
      <dgm:t>
        <a:bodyPr/>
        <a:lstStyle/>
        <a:p>
          <a:endParaRPr lang="it-IT"/>
        </a:p>
      </dgm:t>
    </dgm:pt>
    <dgm:pt modelId="{70751403-C77D-4648-BBC6-F3957AC360B9}" type="pres">
      <dgm:prSet presAssocID="{A50249A6-1D83-4A2F-9B55-3AFE13CD5E2C}" presName="thickLine" presStyleLbl="alignNode1" presStyleIdx="0" presStyleCnt="1"/>
      <dgm:spPr/>
    </dgm:pt>
    <dgm:pt modelId="{DC33016A-33CB-41BB-9B0A-9C88105F9890}" type="pres">
      <dgm:prSet presAssocID="{A50249A6-1D83-4A2F-9B55-3AFE13CD5E2C}" presName="horz1" presStyleCnt="0"/>
      <dgm:spPr/>
    </dgm:pt>
    <dgm:pt modelId="{E378FF97-E7CD-4A2D-A1D3-ADE7434BED19}" type="pres">
      <dgm:prSet presAssocID="{A50249A6-1D83-4A2F-9B55-3AFE13CD5E2C}" presName="tx1" presStyleLbl="revTx" presStyleIdx="0" presStyleCnt="1"/>
      <dgm:spPr/>
      <dgm:t>
        <a:bodyPr/>
        <a:lstStyle/>
        <a:p>
          <a:endParaRPr lang="it-IT"/>
        </a:p>
      </dgm:t>
    </dgm:pt>
    <dgm:pt modelId="{82F3AD34-C3F1-4E1F-9240-F7B3AEB79F30}" type="pres">
      <dgm:prSet presAssocID="{A50249A6-1D83-4A2F-9B55-3AFE13CD5E2C}" presName="vert1" presStyleCnt="0"/>
      <dgm:spPr/>
    </dgm:pt>
  </dgm:ptLst>
  <dgm:cxnLst>
    <dgm:cxn modelId="{B380E5B7-79B4-4A4D-BB54-0F589345C462}" type="presOf" srcId="{A50249A6-1D83-4A2F-9B55-3AFE13CD5E2C}" destId="{E378FF97-E7CD-4A2D-A1D3-ADE7434BED19}" srcOrd="0" destOrd="0" presId="urn:microsoft.com/office/officeart/2008/layout/LinedList"/>
    <dgm:cxn modelId="{0AD9E108-020C-4528-ADFF-9DB697B98E17}" type="presOf" srcId="{FBAA20B3-1DE5-468E-B6D5-C519275B5509}" destId="{C325F778-14EE-4796-B0A7-1FE76B036DE3}" srcOrd="0" destOrd="0" presId="urn:microsoft.com/office/officeart/2008/layout/LinedList"/>
    <dgm:cxn modelId="{6E093A30-5E85-4473-90F9-8ACD1D253868}" srcId="{FBAA20B3-1DE5-468E-B6D5-C519275B5509}" destId="{A50249A6-1D83-4A2F-9B55-3AFE13CD5E2C}" srcOrd="0" destOrd="0" parTransId="{283A074F-2E80-4889-BA57-9DDA1D3A5155}" sibTransId="{0D8501C4-F006-40B5-81A5-341D21EFF758}"/>
    <dgm:cxn modelId="{39A2167E-5FD0-4748-8321-48D3CBA71A4A}" type="presParOf" srcId="{C325F778-14EE-4796-B0A7-1FE76B036DE3}" destId="{70751403-C77D-4648-BBC6-F3957AC360B9}" srcOrd="0" destOrd="0" presId="urn:microsoft.com/office/officeart/2008/layout/LinedList"/>
    <dgm:cxn modelId="{5C3F0430-985C-4D22-8615-4F2FA1CB8DAE}" type="presParOf" srcId="{C325F778-14EE-4796-B0A7-1FE76B036DE3}" destId="{DC33016A-33CB-41BB-9B0A-9C88105F9890}" srcOrd="1" destOrd="0" presId="urn:microsoft.com/office/officeart/2008/layout/LinedList"/>
    <dgm:cxn modelId="{D95D6BB9-F009-49D5-89AC-7189E48ABF38}" type="presParOf" srcId="{DC33016A-33CB-41BB-9B0A-9C88105F9890}" destId="{E378FF97-E7CD-4A2D-A1D3-ADE7434BED19}" srcOrd="0" destOrd="0" presId="urn:microsoft.com/office/officeart/2008/layout/LinedList"/>
    <dgm:cxn modelId="{89CEEA0D-7A30-41C1-AC0F-5DF669E7F8C2}" type="presParOf" srcId="{DC33016A-33CB-41BB-9B0A-9C88105F9890}" destId="{82F3AD34-C3F1-4E1F-9240-F7B3AEB79F30}" srcOrd="1" destOrd="0" presId="urn:microsoft.com/office/officeart/2008/layout/LinedLis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95.xml><?xml version="1.0" encoding="utf-8"?>
<dgm:dataModel xmlns:dgm="http://schemas.openxmlformats.org/drawingml/2006/diagram" xmlns:a="http://schemas.openxmlformats.org/drawingml/2006/main">
  <dgm:ptLst>
    <dgm:pt modelId="{BC9B14FD-C367-4791-83FD-7C6C10CD4E26}" type="doc">
      <dgm:prSet loTypeId="urn:microsoft.com/office/officeart/2005/8/layout/vList2" loCatId="list" qsTypeId="urn:microsoft.com/office/officeart/2005/8/quickstyle/simple1" qsCatId="simple" csTypeId="urn:microsoft.com/office/officeart/2005/8/colors/accent6_1" csCatId="accent6" phldr="1"/>
      <dgm:spPr/>
      <dgm:t>
        <a:bodyPr/>
        <a:lstStyle/>
        <a:p>
          <a:endParaRPr lang="it-IT"/>
        </a:p>
      </dgm:t>
    </dgm:pt>
    <dgm:pt modelId="{01A0CAED-A6B1-4562-A0C3-65C67E4412FD}">
      <dgm:prSet/>
      <dgm:spPr/>
      <dgm:t>
        <a:bodyPr/>
        <a:lstStyle/>
        <a:p>
          <a:pPr algn="just" rtl="0"/>
          <a:r>
            <a:rPr lang="it-IT" b="1" u="sng" dirty="0" smtClean="0">
              <a:solidFill>
                <a:schemeClr val="accent6">
                  <a:lumMod val="75000"/>
                </a:schemeClr>
              </a:solidFill>
            </a:rPr>
            <a:t>Questi dati evidenziano la presenza di un significativo aggregato di imprese che può essere ricondotto alle industrie culturali e creative (ICC)</a:t>
          </a:r>
          <a:endParaRPr lang="it-IT" b="1" dirty="0">
            <a:solidFill>
              <a:schemeClr val="accent6">
                <a:lumMod val="75000"/>
              </a:schemeClr>
            </a:solidFill>
          </a:endParaRPr>
        </a:p>
      </dgm:t>
    </dgm:pt>
    <dgm:pt modelId="{D8F18C1B-6745-4812-B053-5D663D9EE761}" type="parTrans" cxnId="{AF010296-8F66-4539-88CC-DA27355BECE8}">
      <dgm:prSet/>
      <dgm:spPr/>
      <dgm:t>
        <a:bodyPr/>
        <a:lstStyle/>
        <a:p>
          <a:endParaRPr lang="it-IT"/>
        </a:p>
      </dgm:t>
    </dgm:pt>
    <dgm:pt modelId="{A68F2A15-8A1C-4AB4-BAF8-5B03D6A39075}" type="sibTrans" cxnId="{AF010296-8F66-4539-88CC-DA27355BECE8}">
      <dgm:prSet/>
      <dgm:spPr/>
      <dgm:t>
        <a:bodyPr/>
        <a:lstStyle/>
        <a:p>
          <a:endParaRPr lang="it-IT"/>
        </a:p>
      </dgm:t>
    </dgm:pt>
    <dgm:pt modelId="{8D513AA0-791B-41A2-B9DE-7002F022E944}" type="pres">
      <dgm:prSet presAssocID="{BC9B14FD-C367-4791-83FD-7C6C10CD4E26}" presName="linear" presStyleCnt="0">
        <dgm:presLayoutVars>
          <dgm:animLvl val="lvl"/>
          <dgm:resizeHandles val="exact"/>
        </dgm:presLayoutVars>
      </dgm:prSet>
      <dgm:spPr/>
      <dgm:t>
        <a:bodyPr/>
        <a:lstStyle/>
        <a:p>
          <a:endParaRPr lang="it-IT"/>
        </a:p>
      </dgm:t>
    </dgm:pt>
    <dgm:pt modelId="{0E5DF0BF-E0E2-44B5-BCC1-C7CEB1278291}" type="pres">
      <dgm:prSet presAssocID="{01A0CAED-A6B1-4562-A0C3-65C67E4412FD}" presName="parentText" presStyleLbl="node1" presStyleIdx="0" presStyleCnt="1" custScaleX="81633" custScaleY="57825" custLinFactNeighborX="-9183" custLinFactNeighborY="7409">
        <dgm:presLayoutVars>
          <dgm:chMax val="0"/>
          <dgm:bulletEnabled val="1"/>
        </dgm:presLayoutVars>
      </dgm:prSet>
      <dgm:spPr/>
      <dgm:t>
        <a:bodyPr/>
        <a:lstStyle/>
        <a:p>
          <a:endParaRPr lang="it-IT"/>
        </a:p>
      </dgm:t>
    </dgm:pt>
  </dgm:ptLst>
  <dgm:cxnLst>
    <dgm:cxn modelId="{6CF0121B-3873-417A-8B1F-98625252BD64}" type="presOf" srcId="{BC9B14FD-C367-4791-83FD-7C6C10CD4E26}" destId="{8D513AA0-791B-41A2-B9DE-7002F022E944}" srcOrd="0" destOrd="0" presId="urn:microsoft.com/office/officeart/2005/8/layout/vList2"/>
    <dgm:cxn modelId="{6BA6C1E2-C927-433E-930F-50CCCA9D4912}" type="presOf" srcId="{01A0CAED-A6B1-4562-A0C3-65C67E4412FD}" destId="{0E5DF0BF-E0E2-44B5-BCC1-C7CEB1278291}" srcOrd="0" destOrd="0" presId="urn:microsoft.com/office/officeart/2005/8/layout/vList2"/>
    <dgm:cxn modelId="{AF010296-8F66-4539-88CC-DA27355BECE8}" srcId="{BC9B14FD-C367-4791-83FD-7C6C10CD4E26}" destId="{01A0CAED-A6B1-4562-A0C3-65C67E4412FD}" srcOrd="0" destOrd="0" parTransId="{D8F18C1B-6745-4812-B053-5D663D9EE761}" sibTransId="{A68F2A15-8A1C-4AB4-BAF8-5B03D6A39075}"/>
    <dgm:cxn modelId="{A5E57F56-70A8-47D2-80C0-3AB79B1096C6}" type="presParOf" srcId="{8D513AA0-791B-41A2-B9DE-7002F022E944}" destId="{0E5DF0BF-E0E2-44B5-BCC1-C7CEB1278291}"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6.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rtl="0"/>
          <a:r>
            <a:rPr lang="it-IT" sz="1400" b="1" dirty="0" smtClean="0">
              <a:effectLst>
                <a:outerShdw blurRad="38100" dist="38100" dir="2700000" algn="tl">
                  <a:srgbClr val="000000">
                    <a:alpha val="43137"/>
                  </a:srgbClr>
                </a:outerShdw>
              </a:effectLst>
            </a:rPr>
            <a:t>2. Sistema delle conoscenze</a:t>
          </a:r>
          <a:endParaRPr lang="it-IT" sz="14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2F504ECB-99D4-4EAF-892E-9EC368AEF652}" type="presOf" srcId="{E4C7AF03-E2BD-4E48-8DAB-C1261D3D7EA9}" destId="{21D380AD-5D38-4835-9FB5-615E5454C686}" srcOrd="1" destOrd="0" presId="urn:microsoft.com/office/officeart/2005/8/layout/list1"/>
    <dgm:cxn modelId="{8D3F55C7-FA1E-4AB6-AC57-17FBE77FFF6A}" type="presOf" srcId="{E4C7AF03-E2BD-4E48-8DAB-C1261D3D7EA9}" destId="{03DB856F-DE91-4CA0-AD05-B356DE21BFDC}" srcOrd="0" destOrd="0" presId="urn:microsoft.com/office/officeart/2005/8/layout/list1"/>
    <dgm:cxn modelId="{20DE90D5-695D-4571-94E4-FF0E80635416}" type="presOf" srcId="{188FD03C-7D6A-4D29-8FCB-9C1383057E36}" destId="{C08F212E-D010-4B1B-884C-243E8BB88BD2}"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58675A96-87B1-43D7-B7E3-DB3215210486}" type="presParOf" srcId="{C08F212E-D010-4B1B-884C-243E8BB88BD2}" destId="{A042C0D5-6636-40E8-83EA-703099528EDB}" srcOrd="0" destOrd="0" presId="urn:microsoft.com/office/officeart/2005/8/layout/list1"/>
    <dgm:cxn modelId="{44885D09-607C-4146-A5EC-DA7B0289EE63}" type="presParOf" srcId="{A042C0D5-6636-40E8-83EA-703099528EDB}" destId="{03DB856F-DE91-4CA0-AD05-B356DE21BFDC}" srcOrd="0" destOrd="0" presId="urn:microsoft.com/office/officeart/2005/8/layout/list1"/>
    <dgm:cxn modelId="{FD81EFCF-A2AB-47CD-846A-B0596F36A5F4}" type="presParOf" srcId="{A042C0D5-6636-40E8-83EA-703099528EDB}" destId="{21D380AD-5D38-4835-9FB5-615E5454C686}" srcOrd="1" destOrd="0" presId="urn:microsoft.com/office/officeart/2005/8/layout/list1"/>
    <dgm:cxn modelId="{3986D9C8-FB3B-4039-9FC0-DCDE6F56FE76}" type="presParOf" srcId="{C08F212E-D010-4B1B-884C-243E8BB88BD2}" destId="{E77B3B8A-36B6-4AF7-9D59-DF889FA8E07C}" srcOrd="1" destOrd="0" presId="urn:microsoft.com/office/officeart/2005/8/layout/list1"/>
    <dgm:cxn modelId="{0128A235-8E9B-478D-AFA9-AFAECB500838}"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7.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Competenze scientifiche e tecnologiche</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11F51173-6D11-47C4-9059-22E3441F3DA7}" type="presOf" srcId="{9AF403A6-2C5C-4F1B-B787-47496D3DBC71}" destId="{639FA514-32E4-4E31-8688-3C040A3F30E9}" srcOrd="0" destOrd="0" presId="urn:microsoft.com/office/officeart/2005/8/layout/chevronAccent+Icon"/>
    <dgm:cxn modelId="{F4364E7E-2A3E-473E-AFA7-A86933A49C31}" type="presOf" srcId="{72D59079-C521-4525-81A4-701D931A8233}" destId="{9CE9EFE3-4E69-404A-8A99-59388A9E3922}" srcOrd="0" destOrd="0" presId="urn:microsoft.com/office/officeart/2005/8/layout/chevronAccent+Icon"/>
    <dgm:cxn modelId="{956977CD-D3D3-4D84-9531-4CAA270400DE}" type="presParOf" srcId="{639FA514-32E4-4E31-8688-3C040A3F30E9}" destId="{F100BA9B-D4E3-421F-B5D8-42E4C50A115C}" srcOrd="0" destOrd="0" presId="urn:microsoft.com/office/officeart/2005/8/layout/chevronAccent+Icon"/>
    <dgm:cxn modelId="{044C01CB-E8D6-48C3-8451-C283271CF3DE}" type="presParOf" srcId="{F100BA9B-D4E3-421F-B5D8-42E4C50A115C}" destId="{51AD98A5-0898-43D1-8FB1-9AA58104A73C}" srcOrd="0" destOrd="0" presId="urn:microsoft.com/office/officeart/2005/8/layout/chevronAccent+Icon"/>
    <dgm:cxn modelId="{0F107847-25BD-4927-ADB5-BA8FA374D9B9}"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98.xml><?xml version="1.0" encoding="utf-8"?>
<dgm:dataModel xmlns:dgm="http://schemas.openxmlformats.org/drawingml/2006/diagram" xmlns:a="http://schemas.openxmlformats.org/drawingml/2006/main">
  <dgm:ptLst>
    <dgm:pt modelId="{BC9B14FD-C367-4791-83FD-7C6C10CD4E26}" type="doc">
      <dgm:prSet loTypeId="urn:microsoft.com/office/officeart/2005/8/layout/vList2" loCatId="list" qsTypeId="urn:microsoft.com/office/officeart/2005/8/quickstyle/simple1" qsCatId="simple" csTypeId="urn:microsoft.com/office/officeart/2005/8/colors/accent6_2" csCatId="accent6" phldr="1"/>
      <dgm:spPr/>
      <dgm:t>
        <a:bodyPr/>
        <a:lstStyle/>
        <a:p>
          <a:endParaRPr lang="it-IT"/>
        </a:p>
      </dgm:t>
    </dgm:pt>
    <dgm:pt modelId="{01A0CAED-A6B1-4562-A0C3-65C67E4412FD}">
      <dgm:prSet/>
      <dgm:spPr/>
      <dgm:t>
        <a:bodyPr/>
        <a:lstStyle/>
        <a:p>
          <a:pPr algn="just" rtl="0"/>
          <a:r>
            <a:rPr lang="it-IT" b="1" dirty="0" smtClean="0"/>
            <a:t>Tali industrie sono fortemente correlate all’uso di tecnologie innovative che offrono un enorme potenziale di applicazione, considerato anche che molte innovazioni tecnologiche hanno in se contenuti creativi.</a:t>
          </a:r>
          <a:endParaRPr lang="it-IT" b="1" dirty="0"/>
        </a:p>
      </dgm:t>
    </dgm:pt>
    <dgm:pt modelId="{D8F18C1B-6745-4812-B053-5D663D9EE761}" type="parTrans" cxnId="{AF010296-8F66-4539-88CC-DA27355BECE8}">
      <dgm:prSet/>
      <dgm:spPr/>
      <dgm:t>
        <a:bodyPr/>
        <a:lstStyle/>
        <a:p>
          <a:endParaRPr lang="it-IT"/>
        </a:p>
      </dgm:t>
    </dgm:pt>
    <dgm:pt modelId="{A68F2A15-8A1C-4AB4-BAF8-5B03D6A39075}" type="sibTrans" cxnId="{AF010296-8F66-4539-88CC-DA27355BECE8}">
      <dgm:prSet/>
      <dgm:spPr/>
      <dgm:t>
        <a:bodyPr/>
        <a:lstStyle/>
        <a:p>
          <a:endParaRPr lang="it-IT"/>
        </a:p>
      </dgm:t>
    </dgm:pt>
    <dgm:pt modelId="{8D513AA0-791B-41A2-B9DE-7002F022E944}" type="pres">
      <dgm:prSet presAssocID="{BC9B14FD-C367-4791-83FD-7C6C10CD4E26}" presName="linear" presStyleCnt="0">
        <dgm:presLayoutVars>
          <dgm:animLvl val="lvl"/>
          <dgm:resizeHandles val="exact"/>
        </dgm:presLayoutVars>
      </dgm:prSet>
      <dgm:spPr/>
      <dgm:t>
        <a:bodyPr/>
        <a:lstStyle/>
        <a:p>
          <a:endParaRPr lang="it-IT"/>
        </a:p>
      </dgm:t>
    </dgm:pt>
    <dgm:pt modelId="{0E5DF0BF-E0E2-44B5-BCC1-C7CEB1278291}" type="pres">
      <dgm:prSet presAssocID="{01A0CAED-A6B1-4562-A0C3-65C67E4412FD}" presName="parentText" presStyleLbl="node1" presStyleIdx="0" presStyleCnt="1" custScaleX="81633" custScaleY="57825" custLinFactNeighborX="30057" custLinFactNeighborY="-3298">
        <dgm:presLayoutVars>
          <dgm:chMax val="0"/>
          <dgm:bulletEnabled val="1"/>
        </dgm:presLayoutVars>
      </dgm:prSet>
      <dgm:spPr/>
      <dgm:t>
        <a:bodyPr/>
        <a:lstStyle/>
        <a:p>
          <a:endParaRPr lang="it-IT"/>
        </a:p>
      </dgm:t>
    </dgm:pt>
  </dgm:ptLst>
  <dgm:cxnLst>
    <dgm:cxn modelId="{AD33D015-6231-41C5-BFBD-BE95C2EB666A}" type="presOf" srcId="{01A0CAED-A6B1-4562-A0C3-65C67E4412FD}" destId="{0E5DF0BF-E0E2-44B5-BCC1-C7CEB1278291}" srcOrd="0" destOrd="0" presId="urn:microsoft.com/office/officeart/2005/8/layout/vList2"/>
    <dgm:cxn modelId="{AF010296-8F66-4539-88CC-DA27355BECE8}" srcId="{BC9B14FD-C367-4791-83FD-7C6C10CD4E26}" destId="{01A0CAED-A6B1-4562-A0C3-65C67E4412FD}" srcOrd="0" destOrd="0" parTransId="{D8F18C1B-6745-4812-B053-5D663D9EE761}" sibTransId="{A68F2A15-8A1C-4AB4-BAF8-5B03D6A39075}"/>
    <dgm:cxn modelId="{30EAE595-E8A3-4A0C-B2BE-2E6D9E938039}" type="presOf" srcId="{BC9B14FD-C367-4791-83FD-7C6C10CD4E26}" destId="{8D513AA0-791B-41A2-B9DE-7002F022E944}" srcOrd="0" destOrd="0" presId="urn:microsoft.com/office/officeart/2005/8/layout/vList2"/>
    <dgm:cxn modelId="{8478466E-D576-4784-94D6-5C26CA60B39D}" type="presParOf" srcId="{8D513AA0-791B-41A2-B9DE-7002F022E944}" destId="{0E5DF0BF-E0E2-44B5-BCC1-C7CEB1278291}" srcOrd="0" destOrd="0" presId="urn:microsoft.com/office/officeart/2005/8/layout/vList2"/>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99.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Indicazioni di priorità per RIS3</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69F64BFE-A8DE-4CBC-9100-3331FB3A6604}" type="presOf" srcId="{72D59079-C521-4525-81A4-701D931A8233}" destId="{9CE9EFE3-4E69-404A-8A99-59388A9E3922}" srcOrd="0" destOrd="0" presId="urn:microsoft.com/office/officeart/2005/8/layout/chevronAccent+Icon"/>
    <dgm:cxn modelId="{175E2F26-4608-482A-A826-897B8A1DD9DF}" type="presOf" srcId="{9AF403A6-2C5C-4F1B-B787-47496D3DBC71}" destId="{639FA514-32E4-4E31-8688-3C040A3F30E9}" srcOrd="0" destOrd="0" presId="urn:microsoft.com/office/officeart/2005/8/layout/chevronAccent+Icon"/>
    <dgm:cxn modelId="{48BF052A-1C02-4A6D-9C9E-4178DB4E1EA3}" type="presParOf" srcId="{639FA514-32E4-4E31-8688-3C040A3F30E9}" destId="{F100BA9B-D4E3-421F-B5D8-42E4C50A115C}" srcOrd="0" destOrd="0" presId="urn:microsoft.com/office/officeart/2005/8/layout/chevronAccent+Icon"/>
    <dgm:cxn modelId="{BFB667B6-5B3B-4784-8AC0-1F7E1DCA1A92}" type="presParOf" srcId="{F100BA9B-D4E3-421F-B5D8-42E4C50A115C}" destId="{51AD98A5-0898-43D1-8FB1-9AA58104A73C}" srcOrd="0" destOrd="0" presId="urn:microsoft.com/office/officeart/2005/8/layout/chevronAccent+Icon"/>
    <dgm:cxn modelId="{7BC97FF5-0291-45C3-9919-62C7A58544B4}"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351"/>
          <a:ext cx="727280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351"/>
          <a:ext cx="7272808" cy="7193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lvl="0" algn="l" defTabSz="1778000" rtl="0">
            <a:lnSpc>
              <a:spcPct val="90000"/>
            </a:lnSpc>
            <a:spcBef>
              <a:spcPct val="0"/>
            </a:spcBef>
            <a:spcAft>
              <a:spcPct val="35000"/>
            </a:spcAft>
          </a:pPr>
          <a:r>
            <a:rPr lang="it-IT" sz="4000" b="1" kern="1200" dirty="0" smtClean="0">
              <a:solidFill>
                <a:schemeClr val="accent1">
                  <a:lumMod val="75000"/>
                </a:schemeClr>
              </a:solidFill>
            </a:rPr>
            <a:t>Chi siamo</a:t>
          </a:r>
          <a:endParaRPr lang="it-IT" sz="4000" b="1" kern="1200" dirty="0">
            <a:solidFill>
              <a:schemeClr val="accent1">
                <a:lumMod val="75000"/>
              </a:schemeClr>
            </a:solidFill>
          </a:endParaRPr>
        </a:p>
      </dsp:txBody>
      <dsp:txXfrm>
        <a:off x="0" y="351"/>
        <a:ext cx="7272808" cy="71937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2835D1-122D-4027-AADC-8E33108B9F24}">
      <dsp:nvSpPr>
        <dsp:cNvPr id="0" name=""/>
        <dsp:cNvSpPr/>
      </dsp:nvSpPr>
      <dsp:spPr>
        <a:xfrm>
          <a:off x="4963" y="1477"/>
          <a:ext cx="2122042" cy="836860"/>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it-IT" sz="1800" kern="1200" dirty="0" smtClean="0"/>
            <a:t>Definizione piano di lavoro (in presenza)</a:t>
          </a:r>
        </a:p>
        <a:p>
          <a:pPr lvl="0" algn="ctr" defTabSz="800100">
            <a:lnSpc>
              <a:spcPct val="90000"/>
            </a:lnSpc>
            <a:spcBef>
              <a:spcPct val="0"/>
            </a:spcBef>
            <a:spcAft>
              <a:spcPct val="35000"/>
            </a:spcAft>
          </a:pPr>
          <a:r>
            <a:rPr lang="it-IT" sz="1800" kern="1200" dirty="0" smtClean="0"/>
            <a:t>8-9 maggio 2014</a:t>
          </a:r>
          <a:endParaRPr lang="it-IT" sz="1800" kern="1200" dirty="0"/>
        </a:p>
      </dsp:txBody>
      <dsp:txXfrm>
        <a:off x="4963" y="1477"/>
        <a:ext cx="2122042" cy="836860"/>
      </dsp:txXfrm>
    </dsp:sp>
  </dsp:spTree>
</dsp:drawing>
</file>

<file path=ppt/diagrams/drawing10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66" y="0"/>
          <a:ext cx="2148036" cy="633670"/>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73976" y="158417"/>
          <a:ext cx="1813897" cy="633670"/>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it-IT" sz="1400" b="1" kern="1200" dirty="0" smtClean="0"/>
            <a:t>Indicazioni di priorità per RIS3</a:t>
          </a:r>
          <a:endParaRPr lang="it-IT" sz="1400" b="1" kern="1200" dirty="0"/>
        </a:p>
      </dsp:txBody>
      <dsp:txXfrm>
        <a:off x="592536" y="176977"/>
        <a:ext cx="1776777" cy="59655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3CC59A-ED65-4B0D-9470-3F18E593A142}">
      <dsp:nvSpPr>
        <dsp:cNvPr id="0" name=""/>
        <dsp:cNvSpPr/>
      </dsp:nvSpPr>
      <dsp:spPr>
        <a:xfrm>
          <a:off x="0" y="0"/>
          <a:ext cx="7574833" cy="0"/>
        </a:xfrm>
        <a:prstGeom prst="line">
          <a:avLst/>
        </a:prstGeom>
        <a:solidFill>
          <a:schemeClr val="accent2">
            <a:alpha val="90000"/>
            <a:hueOff val="0"/>
            <a:satOff val="0"/>
            <a:lumOff val="0"/>
            <a:alphaOff val="0"/>
          </a:schemeClr>
        </a:solidFill>
        <a:ln w="25400" cap="flat" cmpd="sng" algn="ctr">
          <a:solidFill>
            <a:schemeClr val="accent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E4F97BB-80AE-4B89-8B32-FB05A53BD028}">
      <dsp:nvSpPr>
        <dsp:cNvPr id="0" name=""/>
        <dsp:cNvSpPr/>
      </dsp:nvSpPr>
      <dsp:spPr>
        <a:xfrm>
          <a:off x="0" y="0"/>
          <a:ext cx="7574833" cy="729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rtl="0">
            <a:lnSpc>
              <a:spcPct val="90000"/>
            </a:lnSpc>
            <a:spcBef>
              <a:spcPct val="0"/>
            </a:spcBef>
            <a:spcAft>
              <a:spcPct val="35000"/>
            </a:spcAft>
          </a:pPr>
          <a:endParaRPr lang="it-IT" sz="1800" b="1" i="0" kern="1200" dirty="0">
            <a:solidFill>
              <a:srgbClr val="C00000"/>
            </a:solidFill>
          </a:endParaRPr>
        </a:p>
      </dsp:txBody>
      <dsp:txXfrm>
        <a:off x="0" y="0"/>
        <a:ext cx="7574833" cy="729762"/>
      </dsp:txXfrm>
    </dsp:sp>
  </dsp:spTree>
</dsp:drawing>
</file>

<file path=ppt/diagrams/drawing1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198475"/>
          <a:ext cx="1826913" cy="500739"/>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91256" y="13664"/>
          <a:ext cx="1631597" cy="509531"/>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337" tIns="0" rIns="48337" bIns="0" numCol="1" spcCol="1270" anchor="ctr" anchorCtr="0">
          <a:noAutofit/>
        </a:bodyPr>
        <a:lstStyle/>
        <a:p>
          <a:pPr lvl="0" algn="l" defTabSz="533400" rtl="0">
            <a:lnSpc>
              <a:spcPct val="90000"/>
            </a:lnSpc>
            <a:spcBef>
              <a:spcPct val="0"/>
            </a:spcBef>
            <a:spcAft>
              <a:spcPct val="35000"/>
            </a:spcAft>
          </a:pPr>
          <a:r>
            <a:rPr lang="it-IT" sz="1200" b="1" kern="1200" dirty="0" smtClean="0">
              <a:effectLst>
                <a:outerShdw blurRad="38100" dist="38100" dir="2700000" algn="tl">
                  <a:srgbClr val="000000">
                    <a:alpha val="43137"/>
                  </a:srgbClr>
                </a:outerShdw>
              </a:effectLst>
            </a:rPr>
            <a:t>3. Sistema delle KETs</a:t>
          </a:r>
          <a:endParaRPr lang="it-IT" sz="1200" kern="1200" dirty="0">
            <a:effectLst>
              <a:outerShdw blurRad="38100" dist="38100" dir="2700000" algn="tl">
                <a:srgbClr val="000000">
                  <a:alpha val="43137"/>
                </a:srgbClr>
              </a:outerShdw>
            </a:effectLst>
          </a:endParaRPr>
        </a:p>
      </dsp:txBody>
      <dsp:txXfrm>
        <a:off x="116129" y="38537"/>
        <a:ext cx="1581851" cy="459785"/>
      </dsp:txXfrm>
    </dsp:sp>
  </dsp:spTree>
</dsp:drawing>
</file>

<file path=ppt/diagrams/drawing1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198475"/>
          <a:ext cx="1826913" cy="500739"/>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86885" y="13664"/>
          <a:ext cx="1739409" cy="509531"/>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337" tIns="0" rIns="48337" bIns="0" numCol="1" spcCol="1270" anchor="ctr" anchorCtr="0">
          <a:noAutofit/>
        </a:bodyPr>
        <a:lstStyle/>
        <a:p>
          <a:pPr lvl="0" algn="l" defTabSz="533400" rtl="0">
            <a:lnSpc>
              <a:spcPct val="90000"/>
            </a:lnSpc>
            <a:spcBef>
              <a:spcPct val="0"/>
            </a:spcBef>
            <a:spcAft>
              <a:spcPct val="35000"/>
            </a:spcAft>
          </a:pPr>
          <a:r>
            <a:rPr lang="it-IT" sz="1200" b="1" kern="1200" dirty="0" smtClean="0">
              <a:effectLst>
                <a:outerShdw blurRad="38100" dist="38100" dir="2700000" algn="tl">
                  <a:srgbClr val="000000">
                    <a:alpha val="43137"/>
                  </a:srgbClr>
                </a:outerShdw>
              </a:effectLst>
            </a:rPr>
            <a:t>4. Ruolo dell’innovazione sociale</a:t>
          </a:r>
          <a:endParaRPr lang="it-IT" sz="1200" kern="1200" dirty="0">
            <a:effectLst>
              <a:outerShdw blurRad="38100" dist="38100" dir="2700000" algn="tl">
                <a:srgbClr val="000000">
                  <a:alpha val="43137"/>
                </a:srgbClr>
              </a:outerShdw>
            </a:effectLst>
          </a:endParaRPr>
        </a:p>
      </dsp:txBody>
      <dsp:txXfrm>
        <a:off x="111758" y="38537"/>
        <a:ext cx="1689663" cy="459785"/>
      </dsp:txXfrm>
    </dsp:sp>
  </dsp:spTree>
</dsp:drawing>
</file>

<file path=ppt/diagrams/drawing1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198475"/>
          <a:ext cx="2334896" cy="500739"/>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16630" y="13664"/>
          <a:ext cx="2085272" cy="509531"/>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1777" tIns="0" rIns="61777" bIns="0" numCol="1" spcCol="1270" anchor="ctr" anchorCtr="0">
          <a:noAutofit/>
        </a:bodyPr>
        <a:lstStyle/>
        <a:p>
          <a:pPr lvl="0" algn="l" defTabSz="533400" rtl="0">
            <a:lnSpc>
              <a:spcPct val="90000"/>
            </a:lnSpc>
            <a:spcBef>
              <a:spcPct val="0"/>
            </a:spcBef>
            <a:spcAft>
              <a:spcPct val="35000"/>
            </a:spcAft>
          </a:pPr>
          <a:r>
            <a:rPr lang="it-IT" sz="1200" b="1" kern="1200" dirty="0" smtClean="0">
              <a:effectLst>
                <a:outerShdw blurRad="38100" dist="38100" dir="2700000" algn="tl">
                  <a:srgbClr val="000000">
                    <a:alpha val="43137"/>
                  </a:srgbClr>
                </a:outerShdw>
              </a:effectLst>
            </a:rPr>
            <a:t>5. Intersezione con altri ambiti tecnologici e produttivi</a:t>
          </a:r>
          <a:endParaRPr lang="it-IT" sz="1200" b="1" kern="1200" dirty="0">
            <a:effectLst>
              <a:outerShdw blurRad="38100" dist="38100" dir="2700000" algn="tl">
                <a:srgbClr val="000000">
                  <a:alpha val="43137"/>
                </a:srgbClr>
              </a:outerShdw>
            </a:effectLst>
          </a:endParaRPr>
        </a:p>
      </dsp:txBody>
      <dsp:txXfrm>
        <a:off x="141503" y="38537"/>
        <a:ext cx="2035526" cy="459785"/>
      </dsp:txXfrm>
    </dsp:sp>
  </dsp:spTree>
</dsp:drawing>
</file>

<file path=ppt/diagrams/drawing1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66" y="0"/>
          <a:ext cx="2148036" cy="633670"/>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73976" y="158417"/>
          <a:ext cx="1813897" cy="633670"/>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it-IT" sz="1400" b="1" kern="1200" dirty="0" smtClean="0"/>
            <a:t>Indicazioni di priorità per RIS3</a:t>
          </a:r>
          <a:endParaRPr lang="it-IT" sz="1400" b="1" kern="1200" dirty="0"/>
        </a:p>
      </dsp:txBody>
      <dsp:txXfrm>
        <a:off x="592536" y="176977"/>
        <a:ext cx="1776777" cy="596550"/>
      </dsp:txXfrm>
    </dsp:sp>
  </dsp:spTree>
</dsp:drawing>
</file>

<file path=ppt/diagrams/drawing1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198475"/>
          <a:ext cx="1826913" cy="500739"/>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91256" y="13664"/>
          <a:ext cx="1631597" cy="509531"/>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337" tIns="0" rIns="48337" bIns="0" numCol="1" spcCol="1270" anchor="ctr" anchorCtr="0">
          <a:noAutofit/>
        </a:bodyPr>
        <a:lstStyle/>
        <a:p>
          <a:pPr lvl="0" algn="l" defTabSz="533400" rtl="0">
            <a:lnSpc>
              <a:spcPct val="90000"/>
            </a:lnSpc>
            <a:spcBef>
              <a:spcPct val="0"/>
            </a:spcBef>
            <a:spcAft>
              <a:spcPct val="35000"/>
            </a:spcAft>
          </a:pPr>
          <a:r>
            <a:rPr lang="it-IT" sz="1200" b="1" kern="1200" dirty="0" smtClean="0">
              <a:effectLst>
                <a:outerShdw blurRad="38100" dist="38100" dir="2700000" algn="tl">
                  <a:srgbClr val="000000">
                    <a:alpha val="43137"/>
                  </a:srgbClr>
                </a:outerShdw>
              </a:effectLst>
            </a:rPr>
            <a:t>3. Sistema delle KETs</a:t>
          </a:r>
          <a:endParaRPr lang="it-IT" sz="1200" kern="1200" dirty="0">
            <a:effectLst>
              <a:outerShdw blurRad="38100" dist="38100" dir="2700000" algn="tl">
                <a:srgbClr val="000000">
                  <a:alpha val="43137"/>
                </a:srgbClr>
              </a:outerShdw>
            </a:effectLst>
          </a:endParaRPr>
        </a:p>
      </dsp:txBody>
      <dsp:txXfrm>
        <a:off x="116129" y="38537"/>
        <a:ext cx="1581851" cy="459785"/>
      </dsp:txXfrm>
    </dsp:sp>
  </dsp:spTree>
</dsp:drawing>
</file>

<file path=ppt/diagrams/drawing1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198475"/>
          <a:ext cx="1826913" cy="500739"/>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86885" y="13664"/>
          <a:ext cx="1739409" cy="509531"/>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337" tIns="0" rIns="48337" bIns="0" numCol="1" spcCol="1270" anchor="ctr" anchorCtr="0">
          <a:noAutofit/>
        </a:bodyPr>
        <a:lstStyle/>
        <a:p>
          <a:pPr lvl="0" algn="l" defTabSz="533400" rtl="0">
            <a:lnSpc>
              <a:spcPct val="90000"/>
            </a:lnSpc>
            <a:spcBef>
              <a:spcPct val="0"/>
            </a:spcBef>
            <a:spcAft>
              <a:spcPct val="35000"/>
            </a:spcAft>
          </a:pPr>
          <a:r>
            <a:rPr lang="it-IT" sz="1200" b="1" kern="1200" dirty="0" smtClean="0">
              <a:effectLst>
                <a:outerShdw blurRad="38100" dist="38100" dir="2700000" algn="tl">
                  <a:srgbClr val="000000">
                    <a:alpha val="43137"/>
                  </a:srgbClr>
                </a:outerShdw>
              </a:effectLst>
            </a:rPr>
            <a:t>4. Ruolo dell’innovazione sociale</a:t>
          </a:r>
          <a:endParaRPr lang="it-IT" sz="1200" kern="1200" dirty="0">
            <a:effectLst>
              <a:outerShdw blurRad="38100" dist="38100" dir="2700000" algn="tl">
                <a:srgbClr val="000000">
                  <a:alpha val="43137"/>
                </a:srgbClr>
              </a:outerShdw>
            </a:effectLst>
          </a:endParaRPr>
        </a:p>
      </dsp:txBody>
      <dsp:txXfrm>
        <a:off x="111758" y="38537"/>
        <a:ext cx="1689663" cy="459785"/>
      </dsp:txXfrm>
    </dsp:sp>
  </dsp:spTree>
</dsp:drawing>
</file>

<file path=ppt/diagrams/drawing1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198475"/>
          <a:ext cx="2334896" cy="500739"/>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16630" y="13664"/>
          <a:ext cx="2085272" cy="509531"/>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1777" tIns="0" rIns="61777" bIns="0" numCol="1" spcCol="1270" anchor="ctr" anchorCtr="0">
          <a:noAutofit/>
        </a:bodyPr>
        <a:lstStyle/>
        <a:p>
          <a:pPr lvl="0" algn="l" defTabSz="533400" rtl="0">
            <a:lnSpc>
              <a:spcPct val="90000"/>
            </a:lnSpc>
            <a:spcBef>
              <a:spcPct val="0"/>
            </a:spcBef>
            <a:spcAft>
              <a:spcPct val="35000"/>
            </a:spcAft>
          </a:pPr>
          <a:r>
            <a:rPr lang="it-IT" sz="1200" b="1" kern="1200" dirty="0" smtClean="0">
              <a:effectLst>
                <a:outerShdw blurRad="38100" dist="38100" dir="2700000" algn="tl">
                  <a:srgbClr val="000000">
                    <a:alpha val="43137"/>
                  </a:srgbClr>
                </a:outerShdw>
              </a:effectLst>
            </a:rPr>
            <a:t>5. Intersezione con altri ambiti tecnologici e produttivi</a:t>
          </a:r>
          <a:endParaRPr lang="it-IT" sz="1200" b="1" kern="1200" dirty="0">
            <a:effectLst>
              <a:outerShdw blurRad="38100" dist="38100" dir="2700000" algn="tl">
                <a:srgbClr val="000000">
                  <a:alpha val="43137"/>
                </a:srgbClr>
              </a:outerShdw>
            </a:effectLst>
          </a:endParaRPr>
        </a:p>
      </dsp:txBody>
      <dsp:txXfrm>
        <a:off x="141503" y="38537"/>
        <a:ext cx="2035526" cy="459785"/>
      </dsp:txXfrm>
    </dsp:sp>
  </dsp:spTree>
</dsp:drawing>
</file>

<file path=ppt/diagrams/drawing1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66" y="0"/>
          <a:ext cx="2148036" cy="633670"/>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73976" y="158417"/>
          <a:ext cx="1813897" cy="633670"/>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it-IT" sz="1400" b="1" kern="1200" dirty="0" smtClean="0"/>
            <a:t>Indicazioni di priorità per RIS3</a:t>
          </a:r>
          <a:endParaRPr lang="it-IT" sz="1400" b="1" kern="1200" dirty="0"/>
        </a:p>
      </dsp:txBody>
      <dsp:txXfrm>
        <a:off x="592536" y="176977"/>
        <a:ext cx="1776777" cy="59655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434D6D-2122-4A51-877E-06D18981102B}">
      <dsp:nvSpPr>
        <dsp:cNvPr id="0" name=""/>
        <dsp:cNvSpPr/>
      </dsp:nvSpPr>
      <dsp:spPr>
        <a:xfrm>
          <a:off x="3655797" y="0"/>
          <a:ext cx="1817686" cy="341736"/>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it-IT" sz="1300" kern="1200" dirty="0" smtClean="0"/>
            <a:t>Biotecnologie</a:t>
          </a:r>
          <a:endParaRPr lang="it-IT" sz="1300" kern="1200" dirty="0"/>
        </a:p>
      </dsp:txBody>
      <dsp:txXfrm>
        <a:off x="3672479" y="16682"/>
        <a:ext cx="1784322" cy="308372"/>
      </dsp:txXfrm>
    </dsp:sp>
    <dsp:sp modelId="{B48349C0-DA42-45C1-A305-A31ACB3E56FA}">
      <dsp:nvSpPr>
        <dsp:cNvPr id="0" name=""/>
        <dsp:cNvSpPr/>
      </dsp:nvSpPr>
      <dsp:spPr>
        <a:xfrm>
          <a:off x="3611886" y="200819"/>
          <a:ext cx="3902836" cy="3902836"/>
        </a:xfrm>
        <a:custGeom>
          <a:avLst/>
          <a:gdLst/>
          <a:ahLst/>
          <a:cxnLst/>
          <a:rect l="0" t="0" r="0" b="0"/>
          <a:pathLst>
            <a:path>
              <a:moveTo>
                <a:pt x="1838273" y="3282"/>
              </a:moveTo>
              <a:arcTo wR="1951418" hR="1951418" stAng="16000565" swAng="4271591"/>
            </a:path>
          </a:pathLst>
        </a:custGeom>
        <a:noFill/>
        <a:ln w="9525" cap="flat" cmpd="sng" algn="ctr">
          <a:solidFill>
            <a:schemeClr val="accent1">
              <a:hueOff val="0"/>
              <a:satOff val="0"/>
              <a:lumOff val="0"/>
              <a:alphaOff val="0"/>
            </a:schemeClr>
          </a:solidFill>
          <a:prstDash val="solid"/>
          <a:tailEnd type="arrow"/>
        </a:ln>
        <a:effectLst/>
        <a:sp3d z="-25400" prstMaterial="plastic"/>
      </dsp:spPr>
      <dsp:style>
        <a:lnRef idx="1">
          <a:scrgbClr r="0" g="0" b="0"/>
        </a:lnRef>
        <a:fillRef idx="0">
          <a:scrgbClr r="0" g="0" b="0"/>
        </a:fillRef>
        <a:effectRef idx="0">
          <a:scrgbClr r="0" g="0" b="0"/>
        </a:effectRef>
        <a:fontRef idx="minor"/>
      </dsp:style>
    </dsp:sp>
    <dsp:sp modelId="{6AC538DC-7B9C-4F13-B5F1-2B31B455CDEC}">
      <dsp:nvSpPr>
        <dsp:cNvPr id="0" name=""/>
        <dsp:cNvSpPr/>
      </dsp:nvSpPr>
      <dsp:spPr>
        <a:xfrm>
          <a:off x="7510984" y="1955458"/>
          <a:ext cx="824557" cy="672803"/>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it-IT" sz="1300" kern="1200" dirty="0" smtClean="0"/>
            <a:t>ICT</a:t>
          </a:r>
          <a:endParaRPr lang="it-IT" sz="1300" kern="1200" dirty="0"/>
        </a:p>
      </dsp:txBody>
      <dsp:txXfrm>
        <a:off x="7543828" y="1988302"/>
        <a:ext cx="758869" cy="607115"/>
      </dsp:txXfrm>
    </dsp:sp>
    <dsp:sp modelId="{C398BA1F-BFAB-4EDA-A553-016DA6A23E7D}">
      <dsp:nvSpPr>
        <dsp:cNvPr id="0" name=""/>
        <dsp:cNvSpPr/>
      </dsp:nvSpPr>
      <dsp:spPr>
        <a:xfrm>
          <a:off x="4028202" y="800213"/>
          <a:ext cx="3902836" cy="3902836"/>
        </a:xfrm>
        <a:custGeom>
          <a:avLst/>
          <a:gdLst/>
          <a:ahLst/>
          <a:cxnLst/>
          <a:rect l="0" t="0" r="0" b="0"/>
          <a:pathLst>
            <a:path>
              <a:moveTo>
                <a:pt x="3836399" y="2456272"/>
              </a:moveTo>
              <a:arcTo wR="1951418" hR="1951418" stAng="22499617" swAng="4285261"/>
            </a:path>
          </a:pathLst>
        </a:custGeom>
        <a:noFill/>
        <a:ln w="9525" cap="flat" cmpd="sng" algn="ctr">
          <a:solidFill>
            <a:schemeClr val="accent1">
              <a:hueOff val="0"/>
              <a:satOff val="0"/>
              <a:lumOff val="0"/>
              <a:alphaOff val="0"/>
            </a:schemeClr>
          </a:solidFill>
          <a:prstDash val="solid"/>
          <a:tailEnd type="arrow"/>
        </a:ln>
        <a:effectLst/>
        <a:sp3d z="-25400" prstMaterial="plastic"/>
      </dsp:spPr>
      <dsp:style>
        <a:lnRef idx="1">
          <a:scrgbClr r="0" g="0" b="0"/>
        </a:lnRef>
        <a:fillRef idx="0">
          <a:scrgbClr r="0" g="0" b="0"/>
        </a:fillRef>
        <a:effectRef idx="0">
          <a:scrgbClr r="0" g="0" b="0"/>
        </a:effectRef>
        <a:fontRef idx="minor"/>
      </dsp:style>
    </dsp:sp>
    <dsp:sp modelId="{4D6D01E9-C592-4F2E-AB82-072A02D0A479}">
      <dsp:nvSpPr>
        <dsp:cNvPr id="0" name=""/>
        <dsp:cNvSpPr/>
      </dsp:nvSpPr>
      <dsp:spPr>
        <a:xfrm>
          <a:off x="3655785" y="4564324"/>
          <a:ext cx="1817686" cy="525246"/>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it-IT" sz="1300" kern="1200" dirty="0" smtClean="0"/>
            <a:t>Innovazione sociale</a:t>
          </a:r>
          <a:endParaRPr lang="it-IT" sz="1300" kern="1200" dirty="0"/>
        </a:p>
      </dsp:txBody>
      <dsp:txXfrm>
        <a:off x="3681425" y="4589964"/>
        <a:ext cx="1766406" cy="473966"/>
      </dsp:txXfrm>
    </dsp:sp>
    <dsp:sp modelId="{F7BAADD9-C75B-4898-B52D-48E4B788C62A}">
      <dsp:nvSpPr>
        <dsp:cNvPr id="0" name=""/>
        <dsp:cNvSpPr/>
      </dsp:nvSpPr>
      <dsp:spPr>
        <a:xfrm>
          <a:off x="1351505" y="777483"/>
          <a:ext cx="3902836" cy="3902836"/>
        </a:xfrm>
        <a:custGeom>
          <a:avLst/>
          <a:gdLst/>
          <a:ahLst/>
          <a:cxnLst/>
          <a:rect l="0" t="0" r="0" b="0"/>
          <a:pathLst>
            <a:path>
              <a:moveTo>
                <a:pt x="1762600" y="3893680"/>
              </a:moveTo>
              <a:arcTo wR="1951418" hR="1951418" stAng="5733156" swAng="3384416"/>
            </a:path>
          </a:pathLst>
        </a:custGeom>
        <a:noFill/>
        <a:ln w="9525" cap="flat" cmpd="sng" algn="ctr">
          <a:solidFill>
            <a:schemeClr val="accent1">
              <a:hueOff val="0"/>
              <a:satOff val="0"/>
              <a:lumOff val="0"/>
              <a:alphaOff val="0"/>
            </a:schemeClr>
          </a:solidFill>
          <a:prstDash val="solid"/>
          <a:tailEnd type="arrow"/>
        </a:ln>
        <a:effectLst/>
        <a:sp3d z="-25400" prstMaterial="plastic"/>
      </dsp:spPr>
      <dsp:style>
        <a:lnRef idx="1">
          <a:scrgbClr r="0" g="0" b="0"/>
        </a:lnRef>
        <a:fillRef idx="0">
          <a:scrgbClr r="0" g="0" b="0"/>
        </a:fillRef>
        <a:effectRef idx="0">
          <a:scrgbClr r="0" g="0" b="0"/>
        </a:effectRef>
        <a:fontRef idx="minor"/>
      </dsp:style>
    </dsp:sp>
    <dsp:sp modelId="{7086B33B-544F-4FEE-A7F7-198130F517DF}">
      <dsp:nvSpPr>
        <dsp:cNvPr id="0" name=""/>
        <dsp:cNvSpPr/>
      </dsp:nvSpPr>
      <dsp:spPr>
        <a:xfrm>
          <a:off x="864104" y="1955464"/>
          <a:ext cx="934072" cy="1181496"/>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it-IT" sz="1300" kern="1200" dirty="0" smtClean="0"/>
            <a:t>Micro elettronica</a:t>
          </a:r>
          <a:endParaRPr lang="it-IT" sz="1300" kern="1200" dirty="0"/>
        </a:p>
      </dsp:txBody>
      <dsp:txXfrm>
        <a:off x="909702" y="2001062"/>
        <a:ext cx="842876" cy="1090300"/>
      </dsp:txXfrm>
    </dsp:sp>
    <dsp:sp modelId="{00526382-6092-453E-9B7B-82B351DD0AD1}">
      <dsp:nvSpPr>
        <dsp:cNvPr id="0" name=""/>
        <dsp:cNvSpPr/>
      </dsp:nvSpPr>
      <dsp:spPr>
        <a:xfrm>
          <a:off x="1798177" y="252786"/>
          <a:ext cx="3902836" cy="3902836"/>
        </a:xfrm>
        <a:custGeom>
          <a:avLst/>
          <a:gdLst/>
          <a:ahLst/>
          <a:cxnLst/>
          <a:rect l="0" t="0" r="0" b="0"/>
          <a:pathLst>
            <a:path>
              <a:moveTo>
                <a:pt x="100781" y="1332404"/>
              </a:moveTo>
              <a:arcTo wR="1951418" hR="1951418" stAng="11909665" swAng="4224527"/>
            </a:path>
          </a:pathLst>
        </a:custGeom>
        <a:noFill/>
        <a:ln w="9525" cap="flat" cmpd="sng" algn="ctr">
          <a:solidFill>
            <a:schemeClr val="accent1">
              <a:hueOff val="0"/>
              <a:satOff val="0"/>
              <a:lumOff val="0"/>
              <a:alphaOff val="0"/>
            </a:schemeClr>
          </a:solidFill>
          <a:prstDash val="solid"/>
          <a:tailEnd type="arrow"/>
        </a:ln>
        <a:effectLst/>
        <a:sp3d z="-25400" prstMaterial="plastic"/>
      </dsp:spPr>
      <dsp:style>
        <a:lnRef idx="1">
          <a:scrgbClr r="0" g="0" b="0"/>
        </a:lnRef>
        <a:fillRef idx="0">
          <a:scrgbClr r="0" g="0" b="0"/>
        </a:fillRef>
        <a:effectRef idx="0">
          <a:scrgbClr r="0" g="0" b="0"/>
        </a:effectRef>
        <a:fontRef idx="minor"/>
      </dsp:style>
    </dsp:sp>
  </dsp:spTree>
</dsp:drawing>
</file>

<file path=ppt/diagrams/drawing1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198475"/>
          <a:ext cx="1826913" cy="500739"/>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91256" y="13664"/>
          <a:ext cx="1631597" cy="509531"/>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337" tIns="0" rIns="48337" bIns="0" numCol="1" spcCol="1270" anchor="ctr" anchorCtr="0">
          <a:noAutofit/>
        </a:bodyPr>
        <a:lstStyle/>
        <a:p>
          <a:pPr lvl="0" algn="l" defTabSz="533400" rtl="0">
            <a:lnSpc>
              <a:spcPct val="90000"/>
            </a:lnSpc>
            <a:spcBef>
              <a:spcPct val="0"/>
            </a:spcBef>
            <a:spcAft>
              <a:spcPct val="35000"/>
            </a:spcAft>
          </a:pPr>
          <a:r>
            <a:rPr lang="it-IT" sz="1200" b="1" kern="1200" dirty="0" smtClean="0">
              <a:effectLst>
                <a:outerShdw blurRad="38100" dist="38100" dir="2700000" algn="tl">
                  <a:srgbClr val="000000">
                    <a:alpha val="43137"/>
                  </a:srgbClr>
                </a:outerShdw>
              </a:effectLst>
            </a:rPr>
            <a:t>3. Sistema delle KETs</a:t>
          </a:r>
          <a:endParaRPr lang="it-IT" sz="1200" kern="1200" dirty="0">
            <a:effectLst>
              <a:outerShdw blurRad="38100" dist="38100" dir="2700000" algn="tl">
                <a:srgbClr val="000000">
                  <a:alpha val="43137"/>
                </a:srgbClr>
              </a:outerShdw>
            </a:effectLst>
          </a:endParaRPr>
        </a:p>
      </dsp:txBody>
      <dsp:txXfrm>
        <a:off x="116129" y="38537"/>
        <a:ext cx="1581851" cy="459785"/>
      </dsp:txXfrm>
    </dsp:sp>
  </dsp:spTree>
</dsp:drawing>
</file>

<file path=ppt/diagrams/drawing1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198475"/>
          <a:ext cx="1826913" cy="500739"/>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86885" y="13664"/>
          <a:ext cx="1739409" cy="509531"/>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337" tIns="0" rIns="48337" bIns="0" numCol="1" spcCol="1270" anchor="ctr" anchorCtr="0">
          <a:noAutofit/>
        </a:bodyPr>
        <a:lstStyle/>
        <a:p>
          <a:pPr lvl="0" algn="l" defTabSz="533400" rtl="0">
            <a:lnSpc>
              <a:spcPct val="90000"/>
            </a:lnSpc>
            <a:spcBef>
              <a:spcPct val="0"/>
            </a:spcBef>
            <a:spcAft>
              <a:spcPct val="35000"/>
            </a:spcAft>
          </a:pPr>
          <a:r>
            <a:rPr lang="it-IT" sz="1200" b="1" kern="1200" dirty="0" smtClean="0">
              <a:effectLst>
                <a:outerShdw blurRad="38100" dist="38100" dir="2700000" algn="tl">
                  <a:srgbClr val="000000">
                    <a:alpha val="43137"/>
                  </a:srgbClr>
                </a:outerShdw>
              </a:effectLst>
            </a:rPr>
            <a:t>4. Ruolo dell’innovazione sociale</a:t>
          </a:r>
          <a:endParaRPr lang="it-IT" sz="1200" kern="1200" dirty="0">
            <a:effectLst>
              <a:outerShdw blurRad="38100" dist="38100" dir="2700000" algn="tl">
                <a:srgbClr val="000000">
                  <a:alpha val="43137"/>
                </a:srgbClr>
              </a:outerShdw>
            </a:effectLst>
          </a:endParaRPr>
        </a:p>
      </dsp:txBody>
      <dsp:txXfrm>
        <a:off x="111758" y="38537"/>
        <a:ext cx="1689663" cy="459785"/>
      </dsp:txXfrm>
    </dsp:sp>
  </dsp:spTree>
</dsp:drawing>
</file>

<file path=ppt/diagrams/drawing1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198475"/>
          <a:ext cx="2334896" cy="500739"/>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16630" y="13664"/>
          <a:ext cx="2085272" cy="509531"/>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1777" tIns="0" rIns="61777" bIns="0" numCol="1" spcCol="1270" anchor="ctr" anchorCtr="0">
          <a:noAutofit/>
        </a:bodyPr>
        <a:lstStyle/>
        <a:p>
          <a:pPr lvl="0" algn="l" defTabSz="533400" rtl="0">
            <a:lnSpc>
              <a:spcPct val="90000"/>
            </a:lnSpc>
            <a:spcBef>
              <a:spcPct val="0"/>
            </a:spcBef>
            <a:spcAft>
              <a:spcPct val="35000"/>
            </a:spcAft>
          </a:pPr>
          <a:r>
            <a:rPr lang="it-IT" sz="1200" b="1" kern="1200" dirty="0" smtClean="0">
              <a:effectLst>
                <a:outerShdw blurRad="38100" dist="38100" dir="2700000" algn="tl">
                  <a:srgbClr val="000000">
                    <a:alpha val="43137"/>
                  </a:srgbClr>
                </a:outerShdw>
              </a:effectLst>
            </a:rPr>
            <a:t>5. Intersezione con altri ambiti tecnologici e produttivi</a:t>
          </a:r>
          <a:endParaRPr lang="it-IT" sz="1200" b="1" kern="1200" dirty="0">
            <a:effectLst>
              <a:outerShdw blurRad="38100" dist="38100" dir="2700000" algn="tl">
                <a:srgbClr val="000000">
                  <a:alpha val="43137"/>
                </a:srgbClr>
              </a:outerShdw>
            </a:effectLst>
          </a:endParaRPr>
        </a:p>
      </dsp:txBody>
      <dsp:txXfrm>
        <a:off x="141503" y="38537"/>
        <a:ext cx="2035526" cy="459785"/>
      </dsp:txXfrm>
    </dsp:sp>
  </dsp:spTree>
</dsp:drawing>
</file>

<file path=ppt/diagrams/drawing1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351"/>
          <a:ext cx="727280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351"/>
          <a:ext cx="7272808" cy="7193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lvl="0" algn="l" defTabSz="1778000" rtl="0">
            <a:lnSpc>
              <a:spcPct val="90000"/>
            </a:lnSpc>
            <a:spcBef>
              <a:spcPct val="0"/>
            </a:spcBef>
            <a:spcAft>
              <a:spcPct val="35000"/>
            </a:spcAft>
          </a:pPr>
          <a:r>
            <a:rPr lang="it-IT" sz="4000" b="1" kern="1200" dirty="0" smtClean="0">
              <a:solidFill>
                <a:schemeClr val="accent1">
                  <a:lumMod val="75000"/>
                </a:schemeClr>
              </a:solidFill>
            </a:rPr>
            <a:t>Modalità di lavoro (3)</a:t>
          </a:r>
          <a:endParaRPr lang="it-IT" sz="4000" b="1" kern="1200" dirty="0">
            <a:solidFill>
              <a:schemeClr val="accent1">
                <a:lumMod val="75000"/>
              </a:schemeClr>
            </a:solidFill>
          </a:endParaRPr>
        </a:p>
      </dsp:txBody>
      <dsp:txXfrm>
        <a:off x="0" y="351"/>
        <a:ext cx="7272808" cy="71937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C3370D-7B6A-4F3C-8C78-C38DF1D2FA31}">
      <dsp:nvSpPr>
        <dsp:cNvPr id="0" name=""/>
        <dsp:cNvSpPr/>
      </dsp:nvSpPr>
      <dsp:spPr>
        <a:xfrm rot="5400000">
          <a:off x="3585872" y="-370214"/>
          <a:ext cx="4968544" cy="5708974"/>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85750" lvl="1" indent="-285750" algn="l" defTabSz="1600200">
            <a:lnSpc>
              <a:spcPct val="90000"/>
            </a:lnSpc>
            <a:spcBef>
              <a:spcPct val="0"/>
            </a:spcBef>
            <a:spcAft>
              <a:spcPct val="15000"/>
            </a:spcAft>
            <a:buChar char="••"/>
          </a:pPr>
          <a:r>
            <a:rPr lang="it-IT" sz="3600" b="0" kern="1200" dirty="0" smtClean="0">
              <a:solidFill>
                <a:schemeClr val="accent1"/>
              </a:solidFill>
            </a:rPr>
            <a:t>Attenzione ai tempi</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Comprendere come lavorare più che discutere del merito</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Stare sul tema</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Interventi operativi (escluse premesse)</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Non sovrapporsi</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Non ripetersi</a:t>
          </a:r>
          <a:endParaRPr lang="it-IT" sz="3600" b="0" kern="1200" dirty="0">
            <a:solidFill>
              <a:schemeClr val="accent1"/>
            </a:solidFill>
          </a:endParaRPr>
        </a:p>
      </dsp:txBody>
      <dsp:txXfrm rot="-5400000">
        <a:off x="3215657" y="242545"/>
        <a:ext cx="5466430" cy="4483456"/>
      </dsp:txXfrm>
    </dsp:sp>
    <dsp:sp modelId="{4B75031E-EAE2-44AE-A204-79AAE3CD8BF2}">
      <dsp:nvSpPr>
        <dsp:cNvPr id="0" name=""/>
        <dsp:cNvSpPr/>
      </dsp:nvSpPr>
      <dsp:spPr>
        <a:xfrm>
          <a:off x="4359" y="0"/>
          <a:ext cx="3211298" cy="4963699"/>
        </a:xfrm>
        <a:prstGeom prst="roundRect">
          <a:avLst/>
        </a:prstGeom>
        <a:gradFill rotWithShape="0">
          <a:gsLst>
            <a:gs pos="0">
              <a:schemeClr val="accent2">
                <a:alpha val="90000"/>
                <a:hueOff val="0"/>
                <a:satOff val="0"/>
                <a:lumOff val="0"/>
                <a:alphaOff val="0"/>
                <a:shade val="51000"/>
                <a:satMod val="130000"/>
              </a:schemeClr>
            </a:gs>
            <a:gs pos="80000">
              <a:schemeClr val="accent2">
                <a:alpha val="90000"/>
                <a:hueOff val="0"/>
                <a:satOff val="0"/>
                <a:lumOff val="0"/>
                <a:alphaOff val="0"/>
                <a:shade val="93000"/>
                <a:satMod val="130000"/>
              </a:schemeClr>
            </a:gs>
            <a:gs pos="100000">
              <a:schemeClr val="accent2">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7640" tIns="83820" rIns="167640" bIns="83820" numCol="1" spcCol="1270" anchor="ctr" anchorCtr="0">
          <a:noAutofit/>
        </a:bodyPr>
        <a:lstStyle/>
        <a:p>
          <a:pPr lvl="0" algn="ctr" defTabSz="1955800">
            <a:lnSpc>
              <a:spcPct val="90000"/>
            </a:lnSpc>
            <a:spcBef>
              <a:spcPct val="0"/>
            </a:spcBef>
            <a:spcAft>
              <a:spcPct val="35000"/>
            </a:spcAft>
          </a:pPr>
          <a:r>
            <a:rPr lang="it-IT" sz="4400" b="1" kern="1200" dirty="0" smtClean="0"/>
            <a:t>Le regole del confronto</a:t>
          </a:r>
          <a:endParaRPr lang="it-IT" sz="4400" b="1" kern="1200" dirty="0"/>
        </a:p>
      </dsp:txBody>
      <dsp:txXfrm>
        <a:off x="161122" y="156763"/>
        <a:ext cx="2897772" cy="4650173"/>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351"/>
          <a:ext cx="727280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351"/>
          <a:ext cx="7272808" cy="7193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lvl="0" algn="l" defTabSz="1778000" rtl="0">
            <a:lnSpc>
              <a:spcPct val="90000"/>
            </a:lnSpc>
            <a:spcBef>
              <a:spcPct val="0"/>
            </a:spcBef>
            <a:spcAft>
              <a:spcPct val="35000"/>
            </a:spcAft>
          </a:pPr>
          <a:r>
            <a:rPr lang="it-IT" sz="4000" b="1" kern="1200" dirty="0" smtClean="0">
              <a:solidFill>
                <a:schemeClr val="accent1">
                  <a:lumMod val="75000"/>
                </a:schemeClr>
              </a:solidFill>
            </a:rPr>
            <a:t>Modalità di lavoro (4)</a:t>
          </a:r>
          <a:endParaRPr lang="it-IT" sz="4000" b="1" kern="1200" dirty="0">
            <a:solidFill>
              <a:schemeClr val="accent1">
                <a:lumMod val="75000"/>
              </a:schemeClr>
            </a:solidFill>
          </a:endParaRPr>
        </a:p>
      </dsp:txBody>
      <dsp:txXfrm>
        <a:off x="0" y="351"/>
        <a:ext cx="7272808" cy="71937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C3370D-7B6A-4F3C-8C78-C38DF1D2FA31}">
      <dsp:nvSpPr>
        <dsp:cNvPr id="0" name=""/>
        <dsp:cNvSpPr/>
      </dsp:nvSpPr>
      <dsp:spPr>
        <a:xfrm rot="5400000">
          <a:off x="3585872" y="-370214"/>
          <a:ext cx="4968544" cy="5708974"/>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85750" lvl="1" indent="-285750" algn="l" defTabSz="1600200">
            <a:lnSpc>
              <a:spcPct val="90000"/>
            </a:lnSpc>
            <a:spcBef>
              <a:spcPct val="0"/>
            </a:spcBef>
            <a:spcAft>
              <a:spcPct val="15000"/>
            </a:spcAft>
            <a:buChar char="••"/>
          </a:pPr>
          <a:r>
            <a:rPr lang="it-IT" sz="3600" b="0" kern="1200" dirty="0" smtClean="0">
              <a:solidFill>
                <a:schemeClr val="accent1"/>
              </a:solidFill>
            </a:rPr>
            <a:t>centrato sulle indicazione dei potenziali ambiti di specializzazione rispetto al tavolo tematico</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giustificato dalle evidenze, dalle scoperte imprenditoriali e dalle conoscenze possedute dagli attori </a:t>
          </a:r>
          <a:endParaRPr lang="it-IT" sz="3600" b="0" kern="1200" dirty="0">
            <a:solidFill>
              <a:schemeClr val="accent1"/>
            </a:solidFill>
          </a:endParaRPr>
        </a:p>
      </dsp:txBody>
      <dsp:txXfrm rot="-5400000">
        <a:off x="3215657" y="242545"/>
        <a:ext cx="5466430" cy="4483456"/>
      </dsp:txXfrm>
    </dsp:sp>
    <dsp:sp modelId="{4B75031E-EAE2-44AE-A204-79AAE3CD8BF2}">
      <dsp:nvSpPr>
        <dsp:cNvPr id="0" name=""/>
        <dsp:cNvSpPr/>
      </dsp:nvSpPr>
      <dsp:spPr>
        <a:xfrm>
          <a:off x="4359" y="0"/>
          <a:ext cx="3211298" cy="4963699"/>
        </a:xfrm>
        <a:prstGeom prst="roundRect">
          <a:avLst/>
        </a:prstGeom>
        <a:gradFill rotWithShape="0">
          <a:gsLst>
            <a:gs pos="0">
              <a:schemeClr val="accent2">
                <a:alpha val="90000"/>
                <a:hueOff val="0"/>
                <a:satOff val="0"/>
                <a:lumOff val="0"/>
                <a:alphaOff val="0"/>
                <a:shade val="51000"/>
                <a:satMod val="130000"/>
              </a:schemeClr>
            </a:gs>
            <a:gs pos="80000">
              <a:schemeClr val="accent2">
                <a:alpha val="90000"/>
                <a:hueOff val="0"/>
                <a:satOff val="0"/>
                <a:lumOff val="0"/>
                <a:alphaOff val="0"/>
                <a:shade val="93000"/>
                <a:satMod val="130000"/>
              </a:schemeClr>
            </a:gs>
            <a:gs pos="100000">
              <a:schemeClr val="accent2">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7640" tIns="83820" rIns="167640" bIns="83820" numCol="1" spcCol="1270" anchor="ctr" anchorCtr="0">
          <a:noAutofit/>
        </a:bodyPr>
        <a:lstStyle/>
        <a:p>
          <a:pPr lvl="0" algn="ctr" defTabSz="1955800">
            <a:lnSpc>
              <a:spcPct val="90000"/>
            </a:lnSpc>
            <a:spcBef>
              <a:spcPct val="0"/>
            </a:spcBef>
            <a:spcAft>
              <a:spcPct val="35000"/>
            </a:spcAft>
          </a:pPr>
          <a:r>
            <a:rPr lang="it-IT" sz="4400" b="1" kern="1200" dirty="0" smtClean="0"/>
            <a:t>Il </a:t>
          </a:r>
          <a:r>
            <a:rPr lang="it-IT" sz="4400" b="1" kern="1200" dirty="0" err="1" smtClean="0"/>
            <a:t>contributorichiesto</a:t>
          </a:r>
          <a:r>
            <a:rPr lang="it-IT" sz="4400" b="1" kern="1200" dirty="0" smtClean="0"/>
            <a:t> deve essere....</a:t>
          </a:r>
          <a:endParaRPr lang="it-IT" sz="4400" b="1" kern="1200" dirty="0"/>
        </a:p>
      </dsp:txBody>
      <dsp:txXfrm>
        <a:off x="161122" y="156763"/>
        <a:ext cx="2897772" cy="4650173"/>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0"/>
          <a:ext cx="727280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0"/>
          <a:ext cx="7272808" cy="3693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lvl="0" algn="l" defTabSz="755650" rtl="0">
            <a:lnSpc>
              <a:spcPct val="90000"/>
            </a:lnSpc>
            <a:spcBef>
              <a:spcPct val="0"/>
            </a:spcBef>
            <a:spcAft>
              <a:spcPct val="35000"/>
            </a:spcAft>
          </a:pPr>
          <a:r>
            <a:rPr lang="it-IT" sz="1700" b="1" kern="1200" dirty="0" smtClean="0">
              <a:solidFill>
                <a:schemeClr val="accent1">
                  <a:lumMod val="75000"/>
                </a:schemeClr>
              </a:solidFill>
            </a:rPr>
            <a:t>Avvio Tavoli Tematici</a:t>
          </a:r>
          <a:endParaRPr lang="it-IT" sz="1700" b="1" kern="1200" dirty="0">
            <a:solidFill>
              <a:schemeClr val="accent1">
                <a:lumMod val="75000"/>
              </a:schemeClr>
            </a:solidFill>
          </a:endParaRPr>
        </a:p>
      </dsp:txBody>
      <dsp:txXfrm>
        <a:off x="0" y="0"/>
        <a:ext cx="7272808" cy="369332"/>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0"/>
          <a:ext cx="7128792"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0"/>
          <a:ext cx="7128792" cy="3693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lvl="0" algn="l" defTabSz="755650" rtl="0">
            <a:lnSpc>
              <a:spcPct val="90000"/>
            </a:lnSpc>
            <a:spcBef>
              <a:spcPct val="0"/>
            </a:spcBef>
            <a:spcAft>
              <a:spcPct val="35000"/>
            </a:spcAft>
          </a:pPr>
          <a:r>
            <a:rPr lang="it-IT" sz="1700" b="1" kern="1200" dirty="0" smtClean="0">
              <a:solidFill>
                <a:schemeClr val="accent1">
                  <a:lumMod val="75000"/>
                </a:schemeClr>
              </a:solidFill>
            </a:rPr>
            <a:t>Ambiti di Specializzazione del Tavolo Tematico</a:t>
          </a:r>
          <a:endParaRPr lang="it-IT" sz="1700" b="1" kern="1200" dirty="0">
            <a:solidFill>
              <a:schemeClr val="accent1">
                <a:lumMod val="75000"/>
              </a:schemeClr>
            </a:solidFill>
          </a:endParaRPr>
        </a:p>
      </dsp:txBody>
      <dsp:txXfrm>
        <a:off x="0" y="0"/>
        <a:ext cx="7128792" cy="369332"/>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2A1584-12A4-45C1-ACD7-958A7385C148}">
      <dsp:nvSpPr>
        <dsp:cNvPr id="0" name=""/>
        <dsp:cNvSpPr/>
      </dsp:nvSpPr>
      <dsp:spPr>
        <a:xfrm>
          <a:off x="366859" y="160543"/>
          <a:ext cx="1874706" cy="1874706"/>
        </a:xfrm>
        <a:prstGeom prst="pie">
          <a:avLst>
            <a:gd name="adj1" fmla="val 16200000"/>
            <a:gd name="adj2" fmla="val 5400000"/>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t-IT" sz="1400" kern="1200" dirty="0" smtClean="0"/>
            <a:t>Primo progress</a:t>
          </a:r>
          <a:endParaRPr lang="it-IT" sz="1400" kern="1200" dirty="0"/>
        </a:p>
      </dsp:txBody>
      <dsp:txXfrm>
        <a:off x="1391252" y="651538"/>
        <a:ext cx="669538" cy="892717"/>
      </dsp:txXfrm>
    </dsp:sp>
    <dsp:sp modelId="{911D987E-41D9-4858-92D0-BAC1D4352876}">
      <dsp:nvSpPr>
        <dsp:cNvPr id="0" name=""/>
        <dsp:cNvSpPr/>
      </dsp:nvSpPr>
      <dsp:spPr>
        <a:xfrm>
          <a:off x="277587" y="160543"/>
          <a:ext cx="1874706" cy="1874706"/>
        </a:xfrm>
        <a:prstGeom prst="pie">
          <a:avLst>
            <a:gd name="adj1" fmla="val 5400000"/>
            <a:gd name="adj2" fmla="val 16200000"/>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t-IT" sz="1400" kern="1200" dirty="0" smtClean="0"/>
            <a:t>Secondo progress</a:t>
          </a:r>
          <a:endParaRPr lang="it-IT" sz="1400" kern="1200" dirty="0"/>
        </a:p>
      </dsp:txBody>
      <dsp:txXfrm>
        <a:off x="458362" y="651538"/>
        <a:ext cx="669538" cy="892717"/>
      </dsp:txXfrm>
    </dsp:sp>
    <dsp:sp modelId="{091889A5-5D1D-4DA7-941E-C8B05D965E22}">
      <dsp:nvSpPr>
        <dsp:cNvPr id="0" name=""/>
        <dsp:cNvSpPr/>
      </dsp:nvSpPr>
      <dsp:spPr>
        <a:xfrm>
          <a:off x="250806" y="44490"/>
          <a:ext cx="2106813" cy="2106813"/>
        </a:xfrm>
        <a:prstGeom prst="circularArrow">
          <a:avLst>
            <a:gd name="adj1" fmla="val 5085"/>
            <a:gd name="adj2" fmla="val 327528"/>
            <a:gd name="adj3" fmla="val 5072472"/>
            <a:gd name="adj4" fmla="val 16200000"/>
            <a:gd name="adj5" fmla="val 5932"/>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FA0F59F-4621-418C-96D7-0810ADA847CA}">
      <dsp:nvSpPr>
        <dsp:cNvPr id="0" name=""/>
        <dsp:cNvSpPr/>
      </dsp:nvSpPr>
      <dsp:spPr>
        <a:xfrm>
          <a:off x="161534" y="44490"/>
          <a:ext cx="2106813" cy="2106813"/>
        </a:xfrm>
        <a:prstGeom prst="circularArrow">
          <a:avLst>
            <a:gd name="adj1" fmla="val 5085"/>
            <a:gd name="adj2" fmla="val 327528"/>
            <a:gd name="adj3" fmla="val 15872472"/>
            <a:gd name="adj4" fmla="val 5400000"/>
            <a:gd name="adj5" fmla="val 5932"/>
          </a:avLst>
        </a:prstGeom>
        <a:solidFill>
          <a:schemeClr val="accent6">
            <a:lumMod val="7500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C3370D-7B6A-4F3C-8C78-C38DF1D2FA31}">
      <dsp:nvSpPr>
        <dsp:cNvPr id="0" name=""/>
        <dsp:cNvSpPr/>
      </dsp:nvSpPr>
      <dsp:spPr>
        <a:xfrm rot="5400000">
          <a:off x="2340748" y="-395555"/>
          <a:ext cx="3040486" cy="3943311"/>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it-IT" sz="2000" b="0" kern="1200" dirty="0" smtClean="0">
              <a:solidFill>
                <a:schemeClr val="accent1"/>
              </a:solidFill>
            </a:rPr>
            <a:t>Referenti </a:t>
          </a:r>
          <a:r>
            <a:rPr lang="it-IT" sz="2000" b="0" kern="1200" dirty="0" err="1" smtClean="0">
              <a:solidFill>
                <a:schemeClr val="accent1"/>
              </a:solidFill>
            </a:rPr>
            <a:t>GdL</a:t>
          </a:r>
          <a:r>
            <a:rPr lang="it-IT" sz="2000" b="0" kern="1200" dirty="0" smtClean="0">
              <a:solidFill>
                <a:schemeClr val="accent1"/>
              </a:solidFill>
            </a:rPr>
            <a:t> </a:t>
          </a:r>
          <a:r>
            <a:rPr lang="it-IT" sz="2000" b="0" kern="1200" dirty="0" err="1" smtClean="0">
              <a:solidFill>
                <a:schemeClr val="accent1"/>
              </a:solidFill>
            </a:rPr>
            <a:t>interdiscipinare</a:t>
          </a:r>
          <a:endParaRPr lang="it-IT" sz="2000" b="0" kern="1200" dirty="0">
            <a:solidFill>
              <a:schemeClr val="accent1"/>
            </a:solidFill>
          </a:endParaRPr>
        </a:p>
        <a:p>
          <a:pPr marL="228600" lvl="1" indent="-228600" algn="l" defTabSz="889000">
            <a:lnSpc>
              <a:spcPct val="90000"/>
            </a:lnSpc>
            <a:spcBef>
              <a:spcPct val="0"/>
            </a:spcBef>
            <a:spcAft>
              <a:spcPct val="15000"/>
            </a:spcAft>
            <a:buChar char="••"/>
          </a:pPr>
          <a:r>
            <a:rPr lang="it-IT" sz="2000" b="0" kern="1200" dirty="0" smtClean="0">
              <a:solidFill>
                <a:schemeClr val="accent1"/>
              </a:solidFill>
            </a:rPr>
            <a:t>Referenti Dipartimenti regionali</a:t>
          </a:r>
          <a:endParaRPr lang="it-IT" sz="2000" b="0" kern="1200" dirty="0">
            <a:solidFill>
              <a:schemeClr val="accent1"/>
            </a:solidFill>
          </a:endParaRPr>
        </a:p>
        <a:p>
          <a:pPr marL="228600" lvl="1" indent="-228600" algn="l" defTabSz="889000">
            <a:lnSpc>
              <a:spcPct val="90000"/>
            </a:lnSpc>
            <a:spcBef>
              <a:spcPct val="0"/>
            </a:spcBef>
            <a:spcAft>
              <a:spcPct val="15000"/>
            </a:spcAft>
            <a:buChar char="••"/>
          </a:pPr>
          <a:r>
            <a:rPr lang="it-IT" sz="2000" b="0" kern="1200" dirty="0" smtClean="0">
              <a:solidFill>
                <a:schemeClr val="accent1"/>
              </a:solidFill>
            </a:rPr>
            <a:t>Esperti nazionali </a:t>
          </a:r>
          <a:r>
            <a:rPr lang="it-IT" sz="2000" b="0" kern="1200" dirty="0" err="1" smtClean="0">
              <a:solidFill>
                <a:schemeClr val="accent1"/>
              </a:solidFill>
            </a:rPr>
            <a:t>MiSE</a:t>
          </a:r>
          <a:r>
            <a:rPr lang="it-IT" sz="2000" b="0" kern="1200" dirty="0" smtClean="0">
              <a:solidFill>
                <a:schemeClr val="accent1"/>
              </a:solidFill>
            </a:rPr>
            <a:t> - MIUR</a:t>
          </a:r>
          <a:endParaRPr lang="it-IT" sz="2000" b="0" kern="1200" dirty="0">
            <a:solidFill>
              <a:schemeClr val="accent1"/>
            </a:solidFill>
          </a:endParaRPr>
        </a:p>
        <a:p>
          <a:pPr marL="228600" lvl="1" indent="-228600" algn="l" defTabSz="889000">
            <a:lnSpc>
              <a:spcPct val="90000"/>
            </a:lnSpc>
            <a:spcBef>
              <a:spcPct val="0"/>
            </a:spcBef>
            <a:spcAft>
              <a:spcPct val="15000"/>
            </a:spcAft>
            <a:buChar char="••"/>
          </a:pPr>
          <a:r>
            <a:rPr lang="it-IT" sz="2000" b="0" kern="1200" dirty="0" smtClean="0">
              <a:solidFill>
                <a:schemeClr val="accent1"/>
              </a:solidFill>
            </a:rPr>
            <a:t>Facilitatori</a:t>
          </a:r>
          <a:endParaRPr lang="it-IT" sz="2000" b="0" kern="1200" dirty="0">
            <a:solidFill>
              <a:schemeClr val="accent1"/>
            </a:solidFill>
          </a:endParaRPr>
        </a:p>
        <a:p>
          <a:pPr marL="228600" lvl="1" indent="-228600" algn="l" defTabSz="889000">
            <a:lnSpc>
              <a:spcPct val="90000"/>
            </a:lnSpc>
            <a:spcBef>
              <a:spcPct val="0"/>
            </a:spcBef>
            <a:spcAft>
              <a:spcPct val="15000"/>
            </a:spcAft>
            <a:buChar char="••"/>
          </a:pPr>
          <a:r>
            <a:rPr lang="it-IT" sz="2000" b="0" kern="1200" dirty="0" smtClean="0">
              <a:solidFill>
                <a:srgbClr val="FF0000"/>
              </a:solidFill>
            </a:rPr>
            <a:t>Attori del territorio portatori di conoscenze e competenze che hanno inviato il modulo di adesione  </a:t>
          </a:r>
          <a:endParaRPr lang="it-IT" sz="2000" b="0" kern="1200" dirty="0">
            <a:solidFill>
              <a:srgbClr val="FF0000"/>
            </a:solidFill>
          </a:endParaRPr>
        </a:p>
      </dsp:txBody>
      <dsp:txXfrm rot="-5400000">
        <a:off x="1889336" y="204281"/>
        <a:ext cx="3794887" cy="2743638"/>
      </dsp:txXfrm>
    </dsp:sp>
    <dsp:sp modelId="{4B75031E-EAE2-44AE-A204-79AAE3CD8BF2}">
      <dsp:nvSpPr>
        <dsp:cNvPr id="0" name=""/>
        <dsp:cNvSpPr/>
      </dsp:nvSpPr>
      <dsp:spPr>
        <a:xfrm>
          <a:off x="0" y="3023"/>
          <a:ext cx="1885074" cy="3093320"/>
        </a:xfrm>
        <a:prstGeom prst="roundRect">
          <a:avLst/>
        </a:prstGeom>
        <a:gradFill rotWithShape="0">
          <a:gsLst>
            <a:gs pos="0">
              <a:schemeClr val="accent2">
                <a:alpha val="90000"/>
                <a:hueOff val="0"/>
                <a:satOff val="0"/>
                <a:lumOff val="0"/>
                <a:alphaOff val="0"/>
                <a:shade val="51000"/>
                <a:satMod val="130000"/>
              </a:schemeClr>
            </a:gs>
            <a:gs pos="80000">
              <a:schemeClr val="accent2">
                <a:alpha val="90000"/>
                <a:hueOff val="0"/>
                <a:satOff val="0"/>
                <a:lumOff val="0"/>
                <a:alphaOff val="0"/>
                <a:shade val="93000"/>
                <a:satMod val="130000"/>
              </a:schemeClr>
            </a:gs>
            <a:gs pos="100000">
              <a:schemeClr val="accent2">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it-IT" sz="2000" b="1" kern="1200" dirty="0" smtClean="0"/>
            <a:t>TAVOLO TEMATICO TURISMO, CULTURA E BENI CULTURALI</a:t>
          </a:r>
          <a:endParaRPr lang="it-IT" sz="2000" b="1" kern="1200" dirty="0"/>
        </a:p>
      </dsp:txBody>
      <dsp:txXfrm>
        <a:off x="92022" y="95045"/>
        <a:ext cx="1701030" cy="290927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93C6C5-800F-4AD0-9287-91F0CE3F8018}">
      <dsp:nvSpPr>
        <dsp:cNvPr id="0" name=""/>
        <dsp:cNvSpPr/>
      </dsp:nvSpPr>
      <dsp:spPr>
        <a:xfrm>
          <a:off x="0" y="0"/>
          <a:ext cx="3525613" cy="376901"/>
        </a:xfrm>
        <a:prstGeom prst="roundRect">
          <a:avLst>
            <a:gd name="adj" fmla="val 10000"/>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D743BFD-89FA-49AE-B8B8-5B451728DC2D}">
      <dsp:nvSpPr>
        <dsp:cNvPr id="0" name=""/>
        <dsp:cNvSpPr/>
      </dsp:nvSpPr>
      <dsp:spPr>
        <a:xfrm>
          <a:off x="105768" y="50253"/>
          <a:ext cx="3314076" cy="276394"/>
        </a:xfrm>
        <a:prstGeom prst="roundRect">
          <a:avLst>
            <a:gd name="adj" fmla="val 10000"/>
          </a:avLst>
        </a:prstGeom>
        <a:solidFill>
          <a:schemeClr val="accent2">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67DCA96-203E-4FCF-BFE0-43C97B4D268A}">
      <dsp:nvSpPr>
        <dsp:cNvPr id="0" name=""/>
        <dsp:cNvSpPr/>
      </dsp:nvSpPr>
      <dsp:spPr>
        <a:xfrm rot="10800000">
          <a:off x="105768" y="376901"/>
          <a:ext cx="3314076" cy="460656"/>
        </a:xfrm>
        <a:prstGeom prst="round2SameRect">
          <a:avLst>
            <a:gd name="adj1" fmla="val 10500"/>
            <a:gd name="adj2" fmla="val 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lvl="0" algn="ctr" defTabSz="666750" rtl="0">
            <a:lnSpc>
              <a:spcPct val="90000"/>
            </a:lnSpc>
            <a:spcBef>
              <a:spcPct val="0"/>
            </a:spcBef>
            <a:spcAft>
              <a:spcPct val="35000"/>
            </a:spcAft>
          </a:pPr>
          <a:r>
            <a:rPr lang="it-IT" sz="1500" b="1" kern="1200" dirty="0" smtClean="0"/>
            <a:t>TIME LINE RICERCA ED ANALISI </a:t>
          </a:r>
          <a:endParaRPr lang="it-IT" sz="1500" b="1" kern="1200" dirty="0"/>
        </a:p>
      </dsp:txBody>
      <dsp:txXfrm rot="10800000">
        <a:off x="119935" y="376901"/>
        <a:ext cx="3285742" cy="446489"/>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0"/>
          <a:ext cx="8768630"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0"/>
          <a:ext cx="8768630" cy="720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rtl="0">
            <a:lnSpc>
              <a:spcPct val="90000"/>
            </a:lnSpc>
            <a:spcBef>
              <a:spcPct val="0"/>
            </a:spcBef>
            <a:spcAft>
              <a:spcPct val="35000"/>
            </a:spcAft>
          </a:pPr>
          <a:r>
            <a:rPr lang="it-IT" sz="2400" b="1" u="none" strike="noStrike" kern="1200" dirty="0" smtClean="0">
              <a:solidFill>
                <a:schemeClr val="accent1">
                  <a:lumMod val="75000"/>
                </a:schemeClr>
              </a:solidFill>
              <a:effectLst/>
            </a:rPr>
            <a:t>A che punto è la definizione della RIS 3 Sicilia: percorso svolto</a:t>
          </a:r>
          <a:endParaRPr lang="it-IT" sz="2400" b="1" kern="1200" dirty="0">
            <a:solidFill>
              <a:schemeClr val="accent1">
                <a:lumMod val="75000"/>
              </a:schemeClr>
            </a:solidFill>
          </a:endParaRPr>
        </a:p>
      </dsp:txBody>
      <dsp:txXfrm>
        <a:off x="0" y="0"/>
        <a:ext cx="8768630" cy="720080"/>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A28F2D-F759-4636-ACBD-8466D60D4E17}">
      <dsp:nvSpPr>
        <dsp:cNvPr id="0" name=""/>
        <dsp:cNvSpPr/>
      </dsp:nvSpPr>
      <dsp:spPr>
        <a:xfrm rot="5400000">
          <a:off x="287472" y="1524722"/>
          <a:ext cx="1149296" cy="79311"/>
        </a:xfrm>
        <a:prstGeom prst="rect">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21061A77-D165-43D5-9ED8-B5EB9DDB2753}">
      <dsp:nvSpPr>
        <dsp:cNvPr id="0" name=""/>
        <dsp:cNvSpPr/>
      </dsp:nvSpPr>
      <dsp:spPr>
        <a:xfrm>
          <a:off x="191499" y="490550"/>
          <a:ext cx="1866106" cy="1258427"/>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1.</a:t>
          </a:r>
          <a:r>
            <a:rPr lang="it-IT" sz="1400" b="1" kern="1200" dirty="0" smtClean="0"/>
            <a:t> </a:t>
          </a:r>
          <a:r>
            <a:rPr lang="it-IT" sz="1400" b="1" kern="1200" dirty="0" smtClean="0">
              <a:solidFill>
                <a:srgbClr val="FF0000"/>
              </a:solidFill>
            </a:rPr>
            <a:t>Azione di feedback</a:t>
          </a:r>
        </a:p>
        <a:p>
          <a:pPr lvl="0" algn="l" defTabSz="622300" rtl="0">
            <a:lnSpc>
              <a:spcPct val="90000"/>
            </a:lnSpc>
            <a:spcBef>
              <a:spcPct val="0"/>
            </a:spcBef>
            <a:spcAft>
              <a:spcPts val="0"/>
            </a:spcAft>
          </a:pPr>
          <a:r>
            <a:rPr lang="it-IT" sz="1400" b="1" kern="1200" dirty="0" smtClean="0">
              <a:solidFill>
                <a:srgbClr val="FF0000"/>
              </a:solidFill>
            </a:rPr>
            <a:t>    e di restituzione</a:t>
          </a:r>
        </a:p>
        <a:p>
          <a:pPr lvl="0" algn="l" defTabSz="622300" rtl="0">
            <a:lnSpc>
              <a:spcPct val="90000"/>
            </a:lnSpc>
            <a:spcBef>
              <a:spcPct val="0"/>
            </a:spcBef>
            <a:spcAft>
              <a:spcPct val="35000"/>
            </a:spcAft>
          </a:pPr>
          <a:r>
            <a:rPr lang="it-IT" sz="1400" b="1" kern="1200" dirty="0" smtClean="0">
              <a:solidFill>
                <a:srgbClr val="FF0000"/>
              </a:solidFill>
            </a:rPr>
            <a:t>    (Laboratorio)</a:t>
          </a:r>
          <a:endParaRPr lang="it-IT" sz="1400" b="1" i="0" kern="1200" dirty="0">
            <a:solidFill>
              <a:srgbClr val="FF0000"/>
            </a:solidFill>
          </a:endParaRPr>
        </a:p>
      </dsp:txBody>
      <dsp:txXfrm>
        <a:off x="228357" y="527408"/>
        <a:ext cx="1792390" cy="1184711"/>
      </dsp:txXfrm>
    </dsp:sp>
    <dsp:sp modelId="{AFE62B99-C380-4A7D-A81E-0B836ACE2D97}">
      <dsp:nvSpPr>
        <dsp:cNvPr id="0" name=""/>
        <dsp:cNvSpPr/>
      </dsp:nvSpPr>
      <dsp:spPr>
        <a:xfrm rot="5400000">
          <a:off x="276473" y="2690821"/>
          <a:ext cx="1171293" cy="79311"/>
        </a:xfrm>
        <a:prstGeom prst="rect">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CAD84E32-EB4D-4F6E-9190-AC855B3EA2A5}">
      <dsp:nvSpPr>
        <dsp:cNvPr id="0" name=""/>
        <dsp:cNvSpPr/>
      </dsp:nvSpPr>
      <dsp:spPr>
        <a:xfrm>
          <a:off x="46940" y="1881164"/>
          <a:ext cx="2155223" cy="790832"/>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2.Individuazione ambiti di</a:t>
          </a:r>
        </a:p>
        <a:p>
          <a:pPr lvl="0" algn="l" defTabSz="622300" rtl="0">
            <a:lnSpc>
              <a:spcPct val="90000"/>
            </a:lnSpc>
            <a:spcBef>
              <a:spcPct val="0"/>
            </a:spcBef>
            <a:spcAft>
              <a:spcPct val="35000"/>
            </a:spcAft>
          </a:pPr>
          <a:r>
            <a:rPr lang="it-IT" sz="1400" b="1" kern="1200" dirty="0" smtClean="0">
              <a:solidFill>
                <a:schemeClr val="accent1"/>
              </a:solidFill>
            </a:rPr>
            <a:t>   </a:t>
          </a:r>
          <a:r>
            <a:rPr lang="it-IT" sz="1400" b="1" kern="1200" dirty="0" err="1" smtClean="0">
              <a:solidFill>
                <a:schemeClr val="accent1"/>
              </a:solidFill>
            </a:rPr>
            <a:t>governance</a:t>
          </a:r>
          <a:r>
            <a:rPr lang="it-IT" sz="1400" b="1" kern="1200" dirty="0" smtClean="0">
              <a:solidFill>
                <a:schemeClr val="accent1"/>
              </a:solidFill>
            </a:rPr>
            <a:t> territoriale</a:t>
          </a:r>
          <a:endParaRPr lang="it-IT" sz="1400" b="1" kern="1200" dirty="0">
            <a:solidFill>
              <a:schemeClr val="accent1"/>
            </a:solidFill>
          </a:endParaRPr>
        </a:p>
      </dsp:txBody>
      <dsp:txXfrm>
        <a:off x="70103" y="1904327"/>
        <a:ext cx="2108897" cy="744506"/>
      </dsp:txXfrm>
    </dsp:sp>
    <dsp:sp modelId="{2BCD11DB-F453-4B2F-B9D0-13AA9F8F954B}">
      <dsp:nvSpPr>
        <dsp:cNvPr id="0" name=""/>
        <dsp:cNvSpPr/>
      </dsp:nvSpPr>
      <dsp:spPr>
        <a:xfrm rot="122070">
          <a:off x="866152" y="3332772"/>
          <a:ext cx="2902618" cy="79311"/>
        </a:xfrm>
        <a:prstGeom prst="rect">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D4C33AB0-25CA-4969-A8C5-FD5F197A3E20}">
      <dsp:nvSpPr>
        <dsp:cNvPr id="0" name=""/>
        <dsp:cNvSpPr/>
      </dsp:nvSpPr>
      <dsp:spPr>
        <a:xfrm>
          <a:off x="1089" y="2804183"/>
          <a:ext cx="2246925" cy="1302746"/>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3.</a:t>
          </a:r>
          <a:r>
            <a:rPr lang="it-IT" sz="1400" b="1" kern="1200" dirty="0" smtClean="0"/>
            <a:t> </a:t>
          </a:r>
          <a:r>
            <a:rPr lang="it-IT" sz="1400" b="1" kern="1200" dirty="0" smtClean="0">
              <a:solidFill>
                <a:schemeClr val="accent1"/>
              </a:solidFill>
            </a:rPr>
            <a:t>Condivisione delle</a:t>
          </a:r>
        </a:p>
        <a:p>
          <a:pPr lvl="0" algn="l" defTabSz="622300" rtl="0">
            <a:lnSpc>
              <a:spcPct val="90000"/>
            </a:lnSpc>
            <a:spcBef>
              <a:spcPct val="0"/>
            </a:spcBef>
            <a:spcAft>
              <a:spcPts val="0"/>
            </a:spcAft>
          </a:pPr>
          <a:r>
            <a:rPr lang="it-IT" sz="1400" b="1" kern="1200" dirty="0" smtClean="0">
              <a:solidFill>
                <a:schemeClr val="accent1"/>
              </a:solidFill>
            </a:rPr>
            <a:t>    priorità</a:t>
          </a:r>
          <a:endParaRPr lang="it-IT" sz="1400" b="1" kern="1200" dirty="0">
            <a:solidFill>
              <a:schemeClr val="accent1"/>
            </a:solidFill>
          </a:endParaRPr>
        </a:p>
      </dsp:txBody>
      <dsp:txXfrm>
        <a:off x="39245" y="2842339"/>
        <a:ext cx="2170613" cy="1226434"/>
      </dsp:txXfrm>
    </dsp:sp>
    <dsp:sp modelId="{9D20F1A6-36D0-4E01-9A27-C5A6895D97F1}">
      <dsp:nvSpPr>
        <dsp:cNvPr id="0" name=""/>
        <dsp:cNvSpPr/>
      </dsp:nvSpPr>
      <dsp:spPr>
        <a:xfrm rot="16200000">
          <a:off x="3200876" y="2807394"/>
          <a:ext cx="1145753" cy="79311"/>
        </a:xfrm>
        <a:prstGeom prst="rect">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C5C7BDE0-612E-411D-8AB9-89A47964221E}">
      <dsp:nvSpPr>
        <dsp:cNvPr id="0" name=""/>
        <dsp:cNvSpPr/>
      </dsp:nvSpPr>
      <dsp:spPr>
        <a:xfrm>
          <a:off x="2697056" y="3010277"/>
          <a:ext cx="2678257" cy="1096652"/>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4.</a:t>
          </a:r>
          <a:r>
            <a:rPr lang="it-IT" sz="1400" b="1" kern="1200" dirty="0" smtClean="0"/>
            <a:t> </a:t>
          </a:r>
          <a:r>
            <a:rPr lang="it-IT" sz="1400" b="1" kern="1200" dirty="0" smtClean="0">
              <a:solidFill>
                <a:schemeClr val="accent1"/>
              </a:solidFill>
            </a:rPr>
            <a:t>Formalizzazione della </a:t>
          </a:r>
        </a:p>
        <a:p>
          <a:pPr lvl="0" algn="l" defTabSz="622300" rtl="0">
            <a:lnSpc>
              <a:spcPct val="90000"/>
            </a:lnSpc>
            <a:spcBef>
              <a:spcPct val="0"/>
            </a:spcBef>
            <a:spcAft>
              <a:spcPts val="0"/>
            </a:spcAft>
          </a:pPr>
          <a:r>
            <a:rPr lang="it-IT" sz="1400" b="1" kern="1200" dirty="0" smtClean="0">
              <a:solidFill>
                <a:schemeClr val="accent1"/>
              </a:solidFill>
            </a:rPr>
            <a:t>    condivisione (con appositi</a:t>
          </a:r>
        </a:p>
        <a:p>
          <a:pPr lvl="0" algn="l" defTabSz="622300" rtl="0">
            <a:lnSpc>
              <a:spcPct val="90000"/>
            </a:lnSpc>
            <a:spcBef>
              <a:spcPct val="0"/>
            </a:spcBef>
            <a:spcAft>
              <a:spcPts val="0"/>
            </a:spcAft>
          </a:pPr>
          <a:r>
            <a:rPr lang="it-IT" sz="1400" b="1" kern="1200" dirty="0" smtClean="0">
              <a:solidFill>
                <a:schemeClr val="accent1"/>
              </a:solidFill>
            </a:rPr>
            <a:t>    strumenti) </a:t>
          </a:r>
          <a:endParaRPr lang="it-IT" sz="1400" b="1" kern="1200" dirty="0">
            <a:solidFill>
              <a:schemeClr val="accent1"/>
            </a:solidFill>
          </a:endParaRPr>
        </a:p>
      </dsp:txBody>
      <dsp:txXfrm>
        <a:off x="2729176" y="3042397"/>
        <a:ext cx="2614017" cy="1032412"/>
      </dsp:txXfrm>
    </dsp:sp>
    <dsp:sp modelId="{F38425E9-A09D-45A4-86DE-3B871D235AAB}">
      <dsp:nvSpPr>
        <dsp:cNvPr id="0" name=""/>
        <dsp:cNvSpPr/>
      </dsp:nvSpPr>
      <dsp:spPr>
        <a:xfrm rot="16200000">
          <a:off x="3139090" y="1592916"/>
          <a:ext cx="1269325" cy="79311"/>
        </a:xfrm>
        <a:prstGeom prst="rect">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238DA9E9-3C12-47A7-AF1C-6EFA3B6BFACF}">
      <dsp:nvSpPr>
        <dsp:cNvPr id="0" name=""/>
        <dsp:cNvSpPr/>
      </dsp:nvSpPr>
      <dsp:spPr>
        <a:xfrm>
          <a:off x="2538824" y="1932621"/>
          <a:ext cx="2994720" cy="945469"/>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5.</a:t>
          </a:r>
          <a:r>
            <a:rPr lang="it-IT" sz="1400" b="1" kern="1200" dirty="0" smtClean="0"/>
            <a:t> </a:t>
          </a:r>
          <a:r>
            <a:rPr lang="it-IT" sz="1400" b="1" kern="1200" dirty="0" smtClean="0">
              <a:solidFill>
                <a:schemeClr val="accent1"/>
              </a:solidFill>
            </a:rPr>
            <a:t>Avvio  strategia per la</a:t>
          </a:r>
        </a:p>
        <a:p>
          <a:pPr lvl="0" algn="l" defTabSz="622300" rtl="0">
            <a:lnSpc>
              <a:spcPct val="90000"/>
            </a:lnSpc>
            <a:spcBef>
              <a:spcPct val="0"/>
            </a:spcBef>
            <a:spcAft>
              <a:spcPct val="35000"/>
            </a:spcAft>
          </a:pPr>
          <a:r>
            <a:rPr lang="it-IT" sz="1400" b="1" kern="1200" dirty="0" smtClean="0">
              <a:solidFill>
                <a:schemeClr val="accent1"/>
              </a:solidFill>
            </a:rPr>
            <a:t>    comunicazione</a:t>
          </a:r>
        </a:p>
      </dsp:txBody>
      <dsp:txXfrm>
        <a:off x="2566516" y="1960313"/>
        <a:ext cx="2939336" cy="890085"/>
      </dsp:txXfrm>
    </dsp:sp>
    <dsp:sp modelId="{A2DC82F0-E497-49EB-AA87-BC9FF86E52AE}">
      <dsp:nvSpPr>
        <dsp:cNvPr id="0" name=""/>
        <dsp:cNvSpPr/>
      </dsp:nvSpPr>
      <dsp:spPr>
        <a:xfrm rot="101335">
          <a:off x="3779040" y="996916"/>
          <a:ext cx="2958641" cy="79311"/>
        </a:xfrm>
        <a:prstGeom prst="rect">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F7A22B34-E67D-452E-B7A3-670E43080D52}">
      <dsp:nvSpPr>
        <dsp:cNvPr id="0" name=""/>
        <dsp:cNvSpPr/>
      </dsp:nvSpPr>
      <dsp:spPr>
        <a:xfrm>
          <a:off x="2689446" y="454813"/>
          <a:ext cx="2693476" cy="1345622"/>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6.</a:t>
          </a:r>
          <a:r>
            <a:rPr lang="it-IT" sz="1400" b="1" kern="1200" dirty="0" smtClean="0"/>
            <a:t> </a:t>
          </a:r>
          <a:r>
            <a:rPr lang="it-IT" sz="1400" b="1" kern="1200" dirty="0" smtClean="0">
              <a:solidFill>
                <a:schemeClr val="accent1"/>
              </a:solidFill>
            </a:rPr>
            <a:t>Costituzione di  una Unità</a:t>
          </a:r>
        </a:p>
        <a:p>
          <a:pPr lvl="0" algn="l" defTabSz="622300" rtl="0">
            <a:lnSpc>
              <a:spcPct val="90000"/>
            </a:lnSpc>
            <a:spcBef>
              <a:spcPct val="0"/>
            </a:spcBef>
            <a:spcAft>
              <a:spcPts val="0"/>
            </a:spcAft>
          </a:pPr>
          <a:r>
            <a:rPr lang="it-IT" sz="1400" b="1" kern="1200" dirty="0" smtClean="0">
              <a:solidFill>
                <a:schemeClr val="accent1"/>
              </a:solidFill>
            </a:rPr>
            <a:t>    tecnica con funzioni di </a:t>
          </a:r>
        </a:p>
        <a:p>
          <a:pPr lvl="0" algn="l" defTabSz="622300" rtl="0">
            <a:lnSpc>
              <a:spcPct val="90000"/>
            </a:lnSpc>
            <a:spcBef>
              <a:spcPct val="0"/>
            </a:spcBef>
            <a:spcAft>
              <a:spcPts val="0"/>
            </a:spcAft>
          </a:pPr>
          <a:r>
            <a:rPr lang="it-IT" sz="1400" b="1" kern="1200" dirty="0" smtClean="0">
              <a:solidFill>
                <a:schemeClr val="accent1"/>
              </a:solidFill>
            </a:rPr>
            <a:t>    indirizzo e coordinamento, </a:t>
          </a:r>
        </a:p>
        <a:p>
          <a:pPr lvl="0" algn="l" defTabSz="622300" rtl="0">
            <a:lnSpc>
              <a:spcPct val="90000"/>
            </a:lnSpc>
            <a:spcBef>
              <a:spcPct val="0"/>
            </a:spcBef>
            <a:spcAft>
              <a:spcPts val="0"/>
            </a:spcAft>
          </a:pPr>
          <a:r>
            <a:rPr lang="it-IT" sz="1400" b="1" kern="1200" dirty="0" smtClean="0">
              <a:solidFill>
                <a:schemeClr val="accent1"/>
              </a:solidFill>
            </a:rPr>
            <a:t>    monitoraggio e valutazione</a:t>
          </a:r>
        </a:p>
        <a:p>
          <a:pPr lvl="0" algn="l" defTabSz="622300" rtl="0">
            <a:lnSpc>
              <a:spcPct val="90000"/>
            </a:lnSpc>
            <a:spcBef>
              <a:spcPct val="0"/>
            </a:spcBef>
            <a:spcAft>
              <a:spcPts val="0"/>
            </a:spcAft>
          </a:pPr>
          <a:r>
            <a:rPr lang="it-IT" sz="1400" b="1" kern="1200" dirty="0" smtClean="0">
              <a:solidFill>
                <a:schemeClr val="accent1"/>
              </a:solidFill>
            </a:rPr>
            <a:t>    della Strategia</a:t>
          </a:r>
        </a:p>
      </dsp:txBody>
      <dsp:txXfrm>
        <a:off x="2728858" y="494225"/>
        <a:ext cx="2614652" cy="1266798"/>
      </dsp:txXfrm>
    </dsp:sp>
    <dsp:sp modelId="{6C2FB6B5-23EA-4C6B-B472-9E5490D7D680}">
      <dsp:nvSpPr>
        <dsp:cNvPr id="0" name=""/>
        <dsp:cNvSpPr/>
      </dsp:nvSpPr>
      <dsp:spPr>
        <a:xfrm>
          <a:off x="5824354" y="454813"/>
          <a:ext cx="2350233" cy="1531259"/>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7.Costituzione del Gruppo</a:t>
          </a:r>
        </a:p>
        <a:p>
          <a:pPr lvl="0" algn="l" defTabSz="622300" rtl="0">
            <a:lnSpc>
              <a:spcPct val="90000"/>
            </a:lnSpc>
            <a:spcBef>
              <a:spcPct val="0"/>
            </a:spcBef>
            <a:spcAft>
              <a:spcPct val="35000"/>
            </a:spcAft>
          </a:pPr>
          <a:r>
            <a:rPr lang="it-IT" sz="1400" b="1" kern="1200" dirty="0" smtClean="0">
              <a:solidFill>
                <a:schemeClr val="accent1"/>
              </a:solidFill>
            </a:rPr>
            <a:t>   di Pilotaggio</a:t>
          </a:r>
        </a:p>
      </dsp:txBody>
      <dsp:txXfrm>
        <a:off x="5869203" y="499662"/>
        <a:ext cx="2260535" cy="1441561"/>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37AE75-85E6-437A-8B56-910DD27A4ECE}">
      <dsp:nvSpPr>
        <dsp:cNvPr id="0" name=""/>
        <dsp:cNvSpPr/>
      </dsp:nvSpPr>
      <dsp:spPr>
        <a:xfrm>
          <a:off x="0" y="0"/>
          <a:ext cx="7696904"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8D8CE0C5-97D0-41BA-B185-D747D53A47F7}">
      <dsp:nvSpPr>
        <dsp:cNvPr id="0" name=""/>
        <dsp:cNvSpPr/>
      </dsp:nvSpPr>
      <dsp:spPr>
        <a:xfrm>
          <a:off x="0" y="0"/>
          <a:ext cx="7696904" cy="797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ctr" defTabSz="889000" rtl="0">
            <a:lnSpc>
              <a:spcPct val="90000"/>
            </a:lnSpc>
            <a:spcBef>
              <a:spcPct val="0"/>
            </a:spcBef>
            <a:spcAft>
              <a:spcPct val="35000"/>
            </a:spcAft>
          </a:pPr>
          <a:endParaRPr lang="it-IT" sz="2000" b="1" kern="1200" dirty="0">
            <a:solidFill>
              <a:srgbClr val="6699FF"/>
            </a:solidFill>
            <a:effectLst/>
            <a:latin typeface="Calibri" panose="020F0502020204030204" pitchFamily="34" charset="0"/>
          </a:endParaRPr>
        </a:p>
      </dsp:txBody>
      <dsp:txXfrm>
        <a:off x="0" y="0"/>
        <a:ext cx="7696904" cy="797627"/>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93B85D-E7EC-43EB-AD43-BE75F7C562F8}">
      <dsp:nvSpPr>
        <dsp:cNvPr id="0" name=""/>
        <dsp:cNvSpPr/>
      </dsp:nvSpPr>
      <dsp:spPr>
        <a:xfrm>
          <a:off x="3427" y="0"/>
          <a:ext cx="3925820" cy="4680520"/>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endParaRPr lang="it-IT" sz="1400" b="1" kern="1200" dirty="0" smtClean="0">
            <a:solidFill>
              <a:srgbClr val="FFFF00"/>
            </a:solidFill>
            <a:effectLst>
              <a:outerShdw blurRad="38100" dist="38100" dir="2700000" algn="tl">
                <a:srgbClr val="000000">
                  <a:alpha val="43137"/>
                </a:srgbClr>
              </a:outerShdw>
            </a:effectLst>
          </a:endParaRPr>
        </a:p>
        <a:p>
          <a:pPr lvl="0" algn="ctr" defTabSz="622300" rtl="0">
            <a:lnSpc>
              <a:spcPct val="90000"/>
            </a:lnSpc>
            <a:spcBef>
              <a:spcPct val="0"/>
            </a:spcBef>
            <a:spcAft>
              <a:spcPct val="35000"/>
            </a:spcAft>
          </a:pPr>
          <a:r>
            <a:rPr lang="it-IT" sz="1400" b="1" kern="1200" dirty="0" smtClean="0">
              <a:solidFill>
                <a:srgbClr val="FFFF00"/>
              </a:solidFill>
              <a:effectLst>
                <a:outerShdw blurRad="38100" dist="38100" dir="2700000" algn="tl">
                  <a:srgbClr val="000000">
                    <a:alpha val="43137"/>
                  </a:srgbClr>
                </a:outerShdw>
              </a:effectLst>
            </a:rPr>
            <a:t>SCOPERTA E CONDIVISIONE DI UNA DISTINTIVA SPECIALIZZAZIONE REGIONALE</a:t>
          </a:r>
        </a:p>
        <a:p>
          <a:pPr lvl="0" algn="ctr" defTabSz="622300" rtl="0">
            <a:lnSpc>
              <a:spcPct val="90000"/>
            </a:lnSpc>
            <a:spcBef>
              <a:spcPct val="0"/>
            </a:spcBef>
            <a:spcAft>
              <a:spcPct val="35000"/>
            </a:spcAft>
          </a:pPr>
          <a:r>
            <a:rPr lang="it-IT" sz="1300" kern="1200" dirty="0" smtClean="0"/>
            <a:t>Lettura delle </a:t>
          </a:r>
          <a:r>
            <a:rPr lang="it-IT" sz="1300" b="1" kern="1200" dirty="0" smtClean="0">
              <a:effectLst>
                <a:outerShdw blurRad="38100" dist="38100" dir="2700000" algn="tl">
                  <a:srgbClr val="000000">
                    <a:alpha val="43137"/>
                  </a:srgbClr>
                </a:outerShdw>
              </a:effectLst>
            </a:rPr>
            <a:t>specifiche caratteristiche del territorio</a:t>
          </a:r>
          <a:r>
            <a:rPr lang="it-IT" sz="1300" kern="1200" dirty="0" smtClean="0"/>
            <a:t> e </a:t>
          </a:r>
          <a:r>
            <a:rPr lang="it-IT" sz="1300" b="1" kern="1200" dirty="0" smtClean="0">
              <a:effectLst>
                <a:outerShdw blurRad="38100" dist="38100" dir="2700000" algn="tl">
                  <a:srgbClr val="000000">
                    <a:alpha val="43137"/>
                  </a:srgbClr>
                </a:outerShdw>
              </a:effectLst>
            </a:rPr>
            <a:t>Processo di </a:t>
          </a:r>
          <a:r>
            <a:rPr lang="it-IT" sz="1300" b="1" i="1" kern="1200" dirty="0" smtClean="0">
              <a:effectLst>
                <a:outerShdw blurRad="38100" dist="38100" dir="2700000" algn="tl">
                  <a:srgbClr val="000000">
                    <a:alpha val="43137"/>
                  </a:srgbClr>
                </a:outerShdw>
              </a:effectLst>
            </a:rPr>
            <a:t>empowerment</a:t>
          </a:r>
          <a:r>
            <a:rPr lang="it-IT" sz="1300" b="1" kern="1200" dirty="0" smtClean="0">
              <a:effectLst>
                <a:outerShdw blurRad="38100" dist="38100" dir="2700000" algn="tl">
                  <a:srgbClr val="000000">
                    <a:alpha val="43137"/>
                  </a:srgbClr>
                </a:outerShdw>
              </a:effectLst>
            </a:rPr>
            <a:t> dei diversi attori regionali dell’innovazione. </a:t>
          </a:r>
          <a:endParaRPr lang="it-IT" sz="1300" kern="1200" dirty="0" smtClean="0"/>
        </a:p>
        <a:p>
          <a:pPr lvl="0" algn="ctr" defTabSz="622300" rtl="0">
            <a:lnSpc>
              <a:spcPct val="90000"/>
            </a:lnSpc>
            <a:spcBef>
              <a:spcPct val="0"/>
            </a:spcBef>
            <a:spcAft>
              <a:spcPct val="35000"/>
            </a:spcAft>
          </a:pPr>
          <a:r>
            <a:rPr lang="it-IT" sz="1300" b="1" kern="1200" dirty="0" smtClean="0">
              <a:solidFill>
                <a:srgbClr val="FFFF00"/>
              </a:solidFill>
              <a:effectLst>
                <a:outerShdw blurRad="38100" dist="38100" dir="2700000" algn="tl">
                  <a:srgbClr val="000000">
                    <a:alpha val="43137"/>
                  </a:srgbClr>
                </a:outerShdw>
              </a:effectLst>
            </a:rPr>
            <a:t>La RIS3 Sicilia intende l‘INNOVAZIONE come  un processo multidimensionale e altamente interattivo di collaborazione tra diversi attori</a:t>
          </a:r>
          <a:r>
            <a:rPr lang="it-IT" sz="1200" kern="1200" dirty="0" smtClean="0">
              <a:solidFill>
                <a:srgbClr val="FFFF00"/>
              </a:solidFill>
            </a:rPr>
            <a:t>.</a:t>
          </a:r>
          <a:endParaRPr lang="it-IT" sz="1200" kern="1200" dirty="0">
            <a:solidFill>
              <a:srgbClr val="FFFF00"/>
            </a:solidFill>
          </a:endParaRPr>
        </a:p>
      </dsp:txBody>
      <dsp:txXfrm>
        <a:off x="3427" y="1872208"/>
        <a:ext cx="3925820" cy="1872208"/>
      </dsp:txXfrm>
    </dsp:sp>
    <dsp:sp modelId="{D45867DB-5E57-4321-B95F-EF177612117D}">
      <dsp:nvSpPr>
        <dsp:cNvPr id="0" name=""/>
        <dsp:cNvSpPr/>
      </dsp:nvSpPr>
      <dsp:spPr>
        <a:xfrm>
          <a:off x="1187031" y="280831"/>
          <a:ext cx="1558613" cy="1558613"/>
        </a:xfrm>
        <a:prstGeom prst="ellipse">
          <a:avLst/>
        </a:prstGeom>
        <a:blipFill>
          <a:blip xmlns:r="http://schemas.openxmlformats.org/officeDocument/2006/relationships" r:embed="rId1" cstate="print">
            <a:extLst>
              <a:ext uri="{BEBA8EAE-BF5A-486C-A8C5-ECC9F3942E4B}">
                <a14:imgProps xmlns:a14="http://schemas.microsoft.com/office/drawing/2010/main">
                  <a14:imgLayer r:embed="rId2">
                    <a14:imgEffect>
                      <a14:sharpenSoften amount="50000"/>
                    </a14:imgEffect>
                  </a14:imgLayer>
                </a14:imgProps>
              </a:ext>
              <a:ext uri="{28A0092B-C50C-407E-A947-70E740481C1C}">
                <a14:useLocalDpi xmlns:a14="http://schemas.microsoft.com/office/drawing/2010/main" val="0"/>
              </a:ext>
            </a:extLst>
          </a:blip>
          <a:srcRect/>
          <a:stretch>
            <a:fillRect l="-3000" r="-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6D4FB9A-CA69-4FE6-AE01-D6BD5549E131}">
      <dsp:nvSpPr>
        <dsp:cNvPr id="0" name=""/>
        <dsp:cNvSpPr/>
      </dsp:nvSpPr>
      <dsp:spPr>
        <a:xfrm>
          <a:off x="4050450" y="0"/>
          <a:ext cx="3925820" cy="4680520"/>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endParaRPr lang="it-IT" sz="1400" b="1" kern="1200" dirty="0" smtClean="0">
            <a:effectLst>
              <a:outerShdw blurRad="38100" dist="38100" dir="2700000" algn="tl">
                <a:srgbClr val="000000">
                  <a:alpha val="43137"/>
                </a:srgbClr>
              </a:outerShdw>
            </a:effectLst>
          </a:endParaRPr>
        </a:p>
        <a:p>
          <a:pPr lvl="0" algn="ctr" defTabSz="622300" rtl="0">
            <a:lnSpc>
              <a:spcPct val="90000"/>
            </a:lnSpc>
            <a:spcBef>
              <a:spcPct val="0"/>
            </a:spcBef>
            <a:spcAft>
              <a:spcPct val="35000"/>
            </a:spcAft>
          </a:pPr>
          <a:endParaRPr lang="it-IT" sz="1400" b="1" kern="1200" dirty="0" smtClean="0">
            <a:effectLst>
              <a:outerShdw blurRad="38100" dist="38100" dir="2700000" algn="tl">
                <a:srgbClr val="000000">
                  <a:alpha val="43137"/>
                </a:srgbClr>
              </a:outerShdw>
            </a:effectLst>
          </a:endParaRPr>
        </a:p>
        <a:p>
          <a:pPr lvl="0" algn="ctr" defTabSz="622300" rtl="0">
            <a:lnSpc>
              <a:spcPct val="90000"/>
            </a:lnSpc>
            <a:spcBef>
              <a:spcPct val="0"/>
            </a:spcBef>
            <a:spcAft>
              <a:spcPct val="35000"/>
            </a:spcAft>
          </a:pPr>
          <a:r>
            <a:rPr lang="it-IT" sz="1400" b="1" kern="1200" dirty="0" smtClean="0">
              <a:solidFill>
                <a:srgbClr val="FFFF00"/>
              </a:solidFill>
              <a:effectLst>
                <a:outerShdw blurRad="38100" dist="38100" dir="2700000" algn="tl">
                  <a:srgbClr val="000000">
                    <a:alpha val="43137"/>
                  </a:srgbClr>
                </a:outerShdw>
              </a:effectLst>
            </a:rPr>
            <a:t>INDIVIDUAZIONE DELLE LEVE CHE MUOVONO LO SVILUPPO</a:t>
          </a:r>
        </a:p>
        <a:p>
          <a:pPr lvl="0" algn="ctr" defTabSz="622300" rtl="0">
            <a:lnSpc>
              <a:spcPct val="90000"/>
            </a:lnSpc>
            <a:spcBef>
              <a:spcPct val="0"/>
            </a:spcBef>
            <a:spcAft>
              <a:spcPct val="35000"/>
            </a:spcAft>
          </a:pPr>
          <a:r>
            <a:rPr lang="it-IT" sz="1300" b="1" kern="1200" dirty="0" smtClean="0">
              <a:effectLst>
                <a:outerShdw blurRad="38100" dist="38100" dir="2700000" algn="tl">
                  <a:srgbClr val="000000">
                    <a:alpha val="43137"/>
                  </a:srgbClr>
                </a:outerShdw>
              </a:effectLst>
            </a:rPr>
            <a:t>Ruolo chiave delle cosiddette tecnologie chiave abilitanti (Key Enabling Technologies – KETs). </a:t>
          </a:r>
        </a:p>
        <a:p>
          <a:pPr lvl="0" algn="ctr" defTabSz="622300" rtl="0">
            <a:lnSpc>
              <a:spcPct val="90000"/>
            </a:lnSpc>
            <a:spcBef>
              <a:spcPct val="0"/>
            </a:spcBef>
            <a:spcAft>
              <a:spcPct val="35000"/>
            </a:spcAft>
          </a:pPr>
          <a:r>
            <a:rPr lang="it-IT" sz="1300" b="1" kern="1200" dirty="0" smtClean="0">
              <a:effectLst>
                <a:outerShdw blurRad="38100" dist="38100" dir="2700000" algn="tl">
                  <a:srgbClr val="000000">
                    <a:alpha val="43137"/>
                  </a:srgbClr>
                </a:outerShdw>
              </a:effectLst>
            </a:rPr>
            <a:t>Superamento dell’approccio basato sul tradizionale sostegno ai settori produttivi e alla ricerca </a:t>
          </a:r>
        </a:p>
      </dsp:txBody>
      <dsp:txXfrm>
        <a:off x="4050450" y="1872208"/>
        <a:ext cx="3925820" cy="1872208"/>
      </dsp:txXfrm>
    </dsp:sp>
    <dsp:sp modelId="{0884A0BC-1141-4228-BC39-52DFE7694685}">
      <dsp:nvSpPr>
        <dsp:cNvPr id="0" name=""/>
        <dsp:cNvSpPr/>
      </dsp:nvSpPr>
      <dsp:spPr>
        <a:xfrm>
          <a:off x="5224361" y="248739"/>
          <a:ext cx="1558613" cy="1558613"/>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17000" r="-17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10E4646-191B-46B4-8568-08679650E7AC}">
      <dsp:nvSpPr>
        <dsp:cNvPr id="0" name=""/>
        <dsp:cNvSpPr/>
      </dsp:nvSpPr>
      <dsp:spPr>
        <a:xfrm>
          <a:off x="72525" y="3978442"/>
          <a:ext cx="7599188" cy="702078"/>
        </a:xfrm>
        <a:prstGeom prst="leftRightArrow">
          <a:avLst/>
        </a:prstGeom>
        <a:solidFill>
          <a:schemeClr val="accent2">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68C89-C16B-4E9B-8797-A4838073953D}">
      <dsp:nvSpPr>
        <dsp:cNvPr id="0" name=""/>
        <dsp:cNvSpPr/>
      </dsp:nvSpPr>
      <dsp:spPr>
        <a:xfrm>
          <a:off x="0" y="0"/>
          <a:ext cx="8693073" cy="181369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just" defTabSz="800100" rtl="0">
            <a:lnSpc>
              <a:spcPct val="100000"/>
            </a:lnSpc>
            <a:spcBef>
              <a:spcPct val="0"/>
            </a:spcBef>
            <a:spcAft>
              <a:spcPts val="0"/>
            </a:spcAft>
          </a:pPr>
          <a:r>
            <a:rPr lang="it-IT" sz="1800" b="1" kern="1200" dirty="0" smtClean="0">
              <a:solidFill>
                <a:srgbClr val="FFFF00"/>
              </a:solidFill>
              <a:effectLst>
                <a:outerShdw blurRad="38100" dist="38100" dir="2700000" algn="tl">
                  <a:srgbClr val="000000">
                    <a:alpha val="43137"/>
                  </a:srgbClr>
                </a:outerShdw>
              </a:effectLst>
            </a:rPr>
            <a:t>RAFFORZARE IL SISTEMA PRODUTTIVO REGIONALE </a:t>
          </a:r>
          <a:endParaRPr lang="it-IT" sz="1800" b="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endParaRPr>
        </a:p>
        <a:p>
          <a:pPr lvl="0" algn="just" defTabSz="800100" rtl="0">
            <a:lnSpc>
              <a:spcPct val="100000"/>
            </a:lnSpc>
            <a:spcBef>
              <a:spcPct val="0"/>
            </a:spcBef>
            <a:spcAft>
              <a:spcPts val="0"/>
            </a:spcAft>
          </a:pPr>
          <a:r>
            <a:rPr lang="it-IT" sz="1200" b="1" i="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rPr>
            <a:t>APPROCCIO MULTIDIMENSIONALE </a:t>
          </a:r>
        </a:p>
        <a:p>
          <a:pPr lvl="0" algn="just" defTabSz="800100" rtl="0">
            <a:lnSpc>
              <a:spcPct val="90000"/>
            </a:lnSpc>
            <a:spcBef>
              <a:spcPct val="0"/>
            </a:spcBef>
            <a:spcAft>
              <a:spcPct val="35000"/>
            </a:spcAft>
          </a:pP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Potenziamento del ruolo dei sistemi innovativi locali più performanti nel presidio di alcune KETs e al contempo </a:t>
          </a:r>
          <a:r>
            <a:rPr lang="it-IT" sz="1400" b="1" u="none"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innalzamento del valore di mercato del tessuto produttivo tradizionale</a:t>
          </a: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 con le maggiori prospettive di riconversione competitiva e di ricaduta occupazionale.</a:t>
          </a:r>
          <a:r>
            <a:rPr lang="it-IT" sz="1400" b="1" kern="1200" dirty="0" smtClean="0">
              <a:solidFill>
                <a:schemeClr val="bg1"/>
              </a:solidFill>
              <a:effectLst/>
              <a:latin typeface="Neo Sans Std Medium" pitchFamily="34" charset="0"/>
              <a:ea typeface="+mn-ea"/>
              <a:cs typeface="+mn-cs"/>
            </a:rPr>
            <a:t> Infine, facilitare e supportare il processo di scoperta imprenditoriale favorendo l’incontro tra gli imprenditori anche emergenti e l’offerta di ricerca.</a:t>
          </a:r>
          <a:endParaRPr lang="it-IT" sz="1400" b="1" kern="1200" dirty="0">
            <a:solidFill>
              <a:schemeClr val="bg1"/>
            </a:solidFill>
            <a:effectLst/>
            <a:latin typeface="Neo Sans Std Medium" pitchFamily="34" charset="0"/>
            <a:ea typeface="+mn-ea"/>
            <a:cs typeface="+mn-cs"/>
          </a:endParaRPr>
        </a:p>
      </dsp:txBody>
      <dsp:txXfrm>
        <a:off x="1894926" y="0"/>
        <a:ext cx="6798146" cy="1813698"/>
      </dsp:txXfrm>
    </dsp:sp>
    <dsp:sp modelId="{56706EBC-49D7-45F7-BB65-A09CF00B3AFD}">
      <dsp:nvSpPr>
        <dsp:cNvPr id="0" name=""/>
        <dsp:cNvSpPr/>
      </dsp:nvSpPr>
      <dsp:spPr>
        <a:xfrm>
          <a:off x="156311" y="281602"/>
          <a:ext cx="1738614" cy="1250492"/>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5000" b="-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EF0A50A-EAFC-4B73-A2B3-D743262EC1EA}">
      <dsp:nvSpPr>
        <dsp:cNvPr id="0" name=""/>
        <dsp:cNvSpPr/>
      </dsp:nvSpPr>
      <dsp:spPr>
        <a:xfrm>
          <a:off x="0" y="1970009"/>
          <a:ext cx="8693073" cy="156311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just" defTabSz="711200" rtl="0">
            <a:lnSpc>
              <a:spcPct val="90000"/>
            </a:lnSpc>
            <a:spcBef>
              <a:spcPct val="0"/>
            </a:spcBef>
            <a:spcAft>
              <a:spcPts val="0"/>
            </a:spcAft>
          </a:pPr>
          <a:r>
            <a:rPr lang="it-IT" sz="1600" b="1" kern="1200" dirty="0" smtClean="0">
              <a:solidFill>
                <a:srgbClr val="FFFF00"/>
              </a:solidFill>
              <a:effectLst>
                <a:outerShdw blurRad="38100" dist="38100" dir="2700000" algn="tl">
                  <a:srgbClr val="000000">
                    <a:alpha val="43137"/>
                  </a:srgbClr>
                </a:outerShdw>
              </a:effectLst>
            </a:rPr>
            <a:t>SOSTENERE LA DIFFUSIONE DI SOLUZIONI E SERVIZI INNOVATIVI </a:t>
          </a:r>
        </a:p>
        <a:p>
          <a:pPr lvl="0" algn="just" defTabSz="711200" rtl="0">
            <a:lnSpc>
              <a:spcPct val="90000"/>
            </a:lnSpc>
            <a:spcBef>
              <a:spcPct val="0"/>
            </a:spcBef>
            <a:spcAft>
              <a:spcPts val="0"/>
            </a:spcAft>
          </a:pPr>
          <a:r>
            <a:rPr lang="it-IT" sz="1200" b="1" i="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rPr>
            <a:t>QUALITÀ DELLA VITA</a:t>
          </a:r>
        </a:p>
        <a:p>
          <a:pPr lvl="0" algn="just" defTabSz="711200" rtl="0">
            <a:lnSpc>
              <a:spcPct val="90000"/>
            </a:lnSpc>
            <a:spcBef>
              <a:spcPct val="0"/>
            </a:spcBef>
            <a:spcAft>
              <a:spcPct val="35000"/>
            </a:spcAft>
          </a:pP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Incrementare ed innalzare la diffusione di servizi e soluzioni innovative volti a favorire l’innalzamento della qualità della vita nei luoghi in cui si manifestano bisogni sociali , economici ed ambientali insoddisfatti</a:t>
          </a:r>
          <a:r>
            <a:rPr lang="it-IT" sz="1400" b="1" kern="1200" dirty="0" smtClean="0">
              <a:solidFill>
                <a:schemeClr val="bg1"/>
              </a:solidFill>
              <a:effectLst/>
              <a:latin typeface="Neo Sans Std Medium" pitchFamily="34" charset="0"/>
              <a:ea typeface="+mn-ea"/>
              <a:cs typeface="+mn-cs"/>
            </a:rPr>
            <a:t>. </a:t>
          </a:r>
          <a:endParaRPr lang="it-IT" sz="1400" b="1" kern="1200" dirty="0">
            <a:solidFill>
              <a:schemeClr val="bg1"/>
            </a:solidFill>
            <a:effectLst/>
            <a:latin typeface="Neo Sans Std Medium" pitchFamily="34" charset="0"/>
            <a:ea typeface="+mn-ea"/>
            <a:cs typeface="+mn-cs"/>
          </a:endParaRPr>
        </a:p>
      </dsp:txBody>
      <dsp:txXfrm>
        <a:off x="1894926" y="1970009"/>
        <a:ext cx="6798146" cy="1563115"/>
      </dsp:txXfrm>
    </dsp:sp>
    <dsp:sp modelId="{14850E1F-B083-46EA-B8E5-E23BCE6F199B}">
      <dsp:nvSpPr>
        <dsp:cNvPr id="0" name=""/>
        <dsp:cNvSpPr/>
      </dsp:nvSpPr>
      <dsp:spPr>
        <a:xfrm>
          <a:off x="156311" y="2126321"/>
          <a:ext cx="1738614" cy="1250492"/>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22000" r="-2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58B2A6B-DCD5-4D44-B383-E5475A122E28}">
      <dsp:nvSpPr>
        <dsp:cNvPr id="0" name=""/>
        <dsp:cNvSpPr/>
      </dsp:nvSpPr>
      <dsp:spPr>
        <a:xfrm>
          <a:off x="0" y="3689436"/>
          <a:ext cx="8693073" cy="156311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just" defTabSz="622300" rtl="0">
            <a:lnSpc>
              <a:spcPct val="90000"/>
            </a:lnSpc>
            <a:spcBef>
              <a:spcPct val="0"/>
            </a:spcBef>
            <a:spcAft>
              <a:spcPts val="0"/>
            </a:spcAft>
          </a:pPr>
          <a:endParaRPr lang="it-IT" sz="1600" b="1" kern="1200" dirty="0" smtClean="0">
            <a:solidFill>
              <a:srgbClr val="FFFF00"/>
            </a:solidFill>
            <a:effectLst>
              <a:outerShdw blurRad="38100" dist="38100" dir="2700000" algn="tl">
                <a:srgbClr val="000000">
                  <a:alpha val="43137"/>
                </a:srgbClr>
              </a:outerShdw>
            </a:effectLst>
          </a:endParaRPr>
        </a:p>
        <a:p>
          <a:pPr lvl="0" algn="just" defTabSz="622300" rtl="0">
            <a:lnSpc>
              <a:spcPct val="90000"/>
            </a:lnSpc>
            <a:spcBef>
              <a:spcPct val="0"/>
            </a:spcBef>
            <a:spcAft>
              <a:spcPts val="0"/>
            </a:spcAft>
          </a:pPr>
          <a:r>
            <a:rPr lang="it-IT" sz="1600" b="1" kern="1200" dirty="0" smtClean="0">
              <a:solidFill>
                <a:srgbClr val="FFFF00"/>
              </a:solidFill>
              <a:effectLst>
                <a:outerShdw blurRad="38100" dist="38100" dir="2700000" algn="tl">
                  <a:srgbClr val="000000">
                    <a:alpha val="43137"/>
                  </a:srgbClr>
                </a:outerShdw>
              </a:effectLst>
            </a:rPr>
            <a:t>PROMUOVERE LA PIÙ AMPIA DIFFUSIONE DELLA CULTURA DELL’INNOVAZIONE </a:t>
          </a:r>
        </a:p>
        <a:p>
          <a:pPr lvl="0" algn="just" defTabSz="622300" rtl="0">
            <a:lnSpc>
              <a:spcPct val="90000"/>
            </a:lnSpc>
            <a:spcBef>
              <a:spcPct val="0"/>
            </a:spcBef>
            <a:spcAft>
              <a:spcPts val="0"/>
            </a:spcAft>
          </a:pPr>
          <a:r>
            <a:rPr lang="it-IT" sz="1200" b="1" i="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rPr>
            <a:t>CAPITALE UMANO</a:t>
          </a:r>
        </a:p>
        <a:p>
          <a:pPr lvl="0" algn="just" defTabSz="622300" rtl="0">
            <a:lnSpc>
              <a:spcPct val="90000"/>
            </a:lnSpc>
            <a:spcBef>
              <a:spcPct val="0"/>
            </a:spcBef>
            <a:spcAft>
              <a:spcPct val="35000"/>
            </a:spcAft>
          </a:pP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Ruolo abilitante del capitale umano mediante un’attività di formazione e informazione che con gli strumenti più adeguati coinvolga tutti i livelli della società, a partire dalla scuola sino ad arrivare alla pubblica amministrazione.</a:t>
          </a:r>
          <a:endParaRPr lang="it-IT" sz="1400" b="1" kern="1200" dirty="0">
            <a:solidFill>
              <a:schemeClr val="bg1"/>
            </a:solidFill>
            <a:effectLst>
              <a:outerShdw blurRad="38100" dist="38100" dir="2700000" algn="tl">
                <a:srgbClr val="000000">
                  <a:alpha val="43137"/>
                </a:srgbClr>
              </a:outerShdw>
            </a:effectLst>
            <a:latin typeface="Neo Sans Std Medium" pitchFamily="34" charset="0"/>
            <a:ea typeface="+mn-ea"/>
            <a:cs typeface="+mn-cs"/>
          </a:endParaRPr>
        </a:p>
      </dsp:txBody>
      <dsp:txXfrm>
        <a:off x="1894926" y="3689436"/>
        <a:ext cx="6798146" cy="1563115"/>
      </dsp:txXfrm>
    </dsp:sp>
    <dsp:sp modelId="{03CAC9C2-748F-4326-A0C0-01022A85A403}">
      <dsp:nvSpPr>
        <dsp:cNvPr id="0" name=""/>
        <dsp:cNvSpPr/>
      </dsp:nvSpPr>
      <dsp:spPr>
        <a:xfrm>
          <a:off x="156311" y="3845747"/>
          <a:ext cx="1738614" cy="1250492"/>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10000" r="-1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E2CEB5-124D-44F5-9096-E7ECAF2F2101}">
      <dsp:nvSpPr>
        <dsp:cNvPr id="0" name=""/>
        <dsp:cNvSpPr/>
      </dsp:nvSpPr>
      <dsp:spPr>
        <a:xfrm>
          <a:off x="2201045" y="495782"/>
          <a:ext cx="1069318" cy="1069318"/>
        </a:xfrm>
        <a:prstGeom prst="gear9">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it-IT" sz="1200" b="1" kern="1200" dirty="0" smtClean="0">
              <a:solidFill>
                <a:schemeClr val="accent1">
                  <a:lumMod val="75000"/>
                </a:schemeClr>
              </a:solidFill>
              <a:effectLst>
                <a:outerShdw blurRad="38100" dist="38100" dir="2700000" algn="tl">
                  <a:srgbClr val="000000">
                    <a:alpha val="43137"/>
                  </a:srgbClr>
                </a:outerShdw>
              </a:effectLst>
              <a:latin typeface="Neo Sans Std Medium"/>
            </a:rPr>
            <a:t>OT 1 </a:t>
          </a:r>
          <a:endParaRPr lang="it-IT" sz="1200" b="1" kern="1200" dirty="0">
            <a:solidFill>
              <a:schemeClr val="accent1">
                <a:lumMod val="75000"/>
              </a:schemeClr>
            </a:solidFill>
            <a:effectLst>
              <a:outerShdw blurRad="38100" dist="38100" dir="2700000" algn="tl">
                <a:srgbClr val="000000">
                  <a:alpha val="43137"/>
                </a:srgbClr>
              </a:outerShdw>
            </a:effectLst>
            <a:latin typeface="Neo Sans Std Medium"/>
          </a:endParaRPr>
        </a:p>
      </dsp:txBody>
      <dsp:txXfrm>
        <a:off x="2416025" y="746265"/>
        <a:ext cx="639358" cy="549651"/>
      </dsp:txXfrm>
    </dsp:sp>
    <dsp:sp modelId="{48AC5F59-43C7-463B-9C6A-CEA2081E1C1C}">
      <dsp:nvSpPr>
        <dsp:cNvPr id="0" name=""/>
        <dsp:cNvSpPr/>
      </dsp:nvSpPr>
      <dsp:spPr>
        <a:xfrm>
          <a:off x="1542621" y="864095"/>
          <a:ext cx="777686" cy="777686"/>
        </a:xfrm>
        <a:prstGeom prst="gear6">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it-IT" sz="1200" b="1" kern="1200" dirty="0" smtClean="0">
              <a:solidFill>
                <a:schemeClr val="accent1">
                  <a:lumMod val="75000"/>
                </a:schemeClr>
              </a:solidFill>
              <a:effectLst>
                <a:outerShdw blurRad="38100" dist="38100" dir="2700000" algn="tl">
                  <a:srgbClr val="000000">
                    <a:alpha val="43137"/>
                  </a:srgbClr>
                </a:outerShdw>
              </a:effectLst>
              <a:latin typeface="Neo Sans Std Medium"/>
            </a:rPr>
            <a:t>OT 2</a:t>
          </a:r>
          <a:endParaRPr lang="it-IT" sz="1200" b="1" kern="1200" dirty="0">
            <a:solidFill>
              <a:schemeClr val="accent1">
                <a:lumMod val="75000"/>
              </a:schemeClr>
            </a:solidFill>
            <a:effectLst>
              <a:outerShdw blurRad="38100" dist="38100" dir="2700000" algn="tl">
                <a:srgbClr val="000000">
                  <a:alpha val="43137"/>
                </a:srgbClr>
              </a:outerShdw>
            </a:effectLst>
            <a:latin typeface="Neo Sans Std Medium"/>
          </a:endParaRPr>
        </a:p>
      </dsp:txBody>
      <dsp:txXfrm>
        <a:off x="1738406" y="1061063"/>
        <a:ext cx="386116" cy="383750"/>
      </dsp:txXfrm>
    </dsp:sp>
    <dsp:sp modelId="{9C58820E-B88E-42EC-B94E-53580DE862F7}">
      <dsp:nvSpPr>
        <dsp:cNvPr id="0" name=""/>
        <dsp:cNvSpPr/>
      </dsp:nvSpPr>
      <dsp:spPr>
        <a:xfrm>
          <a:off x="2219493" y="338437"/>
          <a:ext cx="1315262" cy="1315262"/>
        </a:xfrm>
        <a:prstGeom prst="circularArrow">
          <a:avLst>
            <a:gd name="adj1" fmla="val 4878"/>
            <a:gd name="adj2" fmla="val 312630"/>
            <a:gd name="adj3" fmla="val 2888121"/>
            <a:gd name="adj4" fmla="val 15610276"/>
            <a:gd name="adj5" fmla="val 5691"/>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71AF710-52C6-4140-9C37-87300CDE1B1A}">
      <dsp:nvSpPr>
        <dsp:cNvPr id="0" name=""/>
        <dsp:cNvSpPr/>
      </dsp:nvSpPr>
      <dsp:spPr>
        <a:xfrm>
          <a:off x="1398612" y="792090"/>
          <a:ext cx="994466" cy="994466"/>
        </a:xfrm>
        <a:prstGeom prst="leftCircularArrow">
          <a:avLst>
            <a:gd name="adj1" fmla="val 6452"/>
            <a:gd name="adj2" fmla="val 429999"/>
            <a:gd name="adj3" fmla="val 10489124"/>
            <a:gd name="adj4" fmla="val 14837806"/>
            <a:gd name="adj5" fmla="val 7527"/>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318694-7D13-4394-9999-743EFAEC9488}">
      <dsp:nvSpPr>
        <dsp:cNvPr id="0" name=""/>
        <dsp:cNvSpPr/>
      </dsp:nvSpPr>
      <dsp:spPr>
        <a:xfrm>
          <a:off x="1967738" y="0"/>
          <a:ext cx="1704679" cy="430887"/>
        </a:xfrm>
        <a:prstGeom prst="homePlate">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2004" rIns="16002" bIns="32004" numCol="1" spcCol="1270" anchor="ctr" anchorCtr="0">
          <a:noAutofit/>
        </a:bodyPr>
        <a:lstStyle/>
        <a:p>
          <a:pPr lvl="0" algn="ctr" defTabSz="533400" rtl="0">
            <a:lnSpc>
              <a:spcPct val="90000"/>
            </a:lnSpc>
            <a:spcBef>
              <a:spcPct val="0"/>
            </a:spcBef>
            <a:spcAft>
              <a:spcPct val="35000"/>
            </a:spcAft>
          </a:pPr>
          <a:r>
            <a:rPr lang="it-IT" sz="1200" kern="1200" dirty="0" smtClean="0"/>
            <a:t>Verso il PO FESR 2014-2020</a:t>
          </a:r>
          <a:endParaRPr lang="it-IT" sz="1200" kern="1200" dirty="0"/>
        </a:p>
      </dsp:txBody>
      <dsp:txXfrm>
        <a:off x="1967738" y="0"/>
        <a:ext cx="1596957" cy="430887"/>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11C825-4C01-4010-80E5-94DE88871CFE}">
      <dsp:nvSpPr>
        <dsp:cNvPr id="0" name=""/>
        <dsp:cNvSpPr/>
      </dsp:nvSpPr>
      <dsp:spPr>
        <a:xfrm rot="16200000">
          <a:off x="1515000" y="-398839"/>
          <a:ext cx="930483" cy="3988118"/>
        </a:xfrm>
        <a:prstGeom prst="downArrow">
          <a:avLst>
            <a:gd name="adj1" fmla="val 50000"/>
            <a:gd name="adj2" fmla="val 35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 “</a:t>
          </a:r>
          <a:r>
            <a:rPr lang="it-IT" sz="1400" b="1" i="1" kern="1200" dirty="0" smtClean="0">
              <a:effectLst>
                <a:outerShdw blurRad="38100" dist="38100" dir="2700000" algn="tl">
                  <a:srgbClr val="000000">
                    <a:alpha val="43137"/>
                  </a:srgbClr>
                </a:outerShdw>
              </a:effectLst>
            </a:rPr>
            <a:t>mission </a:t>
          </a:r>
          <a:r>
            <a:rPr lang="it-IT" sz="1400" b="1" i="1" kern="1200" dirty="0" err="1" smtClean="0">
              <a:effectLst>
                <a:outerShdw blurRad="38100" dist="38100" dir="2700000" algn="tl">
                  <a:srgbClr val="000000">
                    <a:alpha val="43137"/>
                  </a:srgbClr>
                </a:outerShdw>
              </a:effectLst>
            </a:rPr>
            <a:t>oriented</a:t>
          </a:r>
          <a:r>
            <a:rPr lang="it-IT" sz="1400" b="1" kern="1200" dirty="0" smtClean="0">
              <a:effectLst>
                <a:outerShdw blurRad="38100" dist="38100" dir="2700000" algn="tl">
                  <a:srgbClr val="000000">
                    <a:alpha val="43137"/>
                  </a:srgbClr>
                </a:outerShdw>
              </a:effectLst>
            </a:rPr>
            <a:t>”</a:t>
          </a:r>
        </a:p>
      </dsp:txBody>
      <dsp:txXfrm rot="5400000">
        <a:off x="-13817" y="1362599"/>
        <a:ext cx="3825283" cy="465241"/>
      </dsp:txXfrm>
    </dsp:sp>
    <dsp:sp modelId="{DBF43435-E534-4CA2-9BEB-93585D8D69F7}">
      <dsp:nvSpPr>
        <dsp:cNvPr id="0" name=""/>
        <dsp:cNvSpPr/>
      </dsp:nvSpPr>
      <dsp:spPr>
        <a:xfrm rot="5400000">
          <a:off x="5688990" y="-437927"/>
          <a:ext cx="985227" cy="3988118"/>
        </a:xfrm>
        <a:prstGeom prst="downArrow">
          <a:avLst>
            <a:gd name="adj1" fmla="val 50000"/>
            <a:gd name="adj2" fmla="val 35000"/>
          </a:avLst>
        </a:prstGeom>
        <a:solidFill>
          <a:srgbClr val="00CC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a:t>
          </a:r>
          <a:r>
            <a:rPr lang="it-IT" sz="1400" b="1" kern="1200" dirty="0" err="1" smtClean="0">
              <a:effectLst>
                <a:outerShdw blurRad="38100" dist="38100" dir="2700000" algn="tl">
                  <a:srgbClr val="000000">
                    <a:alpha val="43137"/>
                  </a:srgbClr>
                </a:outerShdw>
              </a:effectLst>
            </a:rPr>
            <a:t>diffusion</a:t>
          </a:r>
          <a:r>
            <a:rPr lang="it-IT" sz="1400" b="1" kern="1200" dirty="0" smtClean="0">
              <a:effectLst>
                <a:outerShdw blurRad="38100" dist="38100" dir="2700000" algn="tl">
                  <a:srgbClr val="000000">
                    <a:alpha val="43137"/>
                  </a:srgbClr>
                </a:outerShdw>
              </a:effectLst>
            </a:rPr>
            <a:t> </a:t>
          </a:r>
          <a:r>
            <a:rPr lang="it-IT" sz="1400" b="1" kern="1200" dirty="0" err="1" smtClean="0">
              <a:effectLst>
                <a:outerShdw blurRad="38100" dist="38100" dir="2700000" algn="tl">
                  <a:srgbClr val="000000">
                    <a:alpha val="43137"/>
                  </a:srgbClr>
                </a:outerShdw>
              </a:effectLst>
            </a:rPr>
            <a:t>oriented</a:t>
          </a:r>
          <a:r>
            <a:rPr lang="it-IT" sz="1400" b="1" kern="1200" dirty="0" smtClean="0">
              <a:effectLst>
                <a:outerShdw blurRad="38100" dist="38100" dir="2700000" algn="tl">
                  <a:srgbClr val="000000">
                    <a:alpha val="43137"/>
                  </a:srgbClr>
                </a:outerShdw>
              </a:effectLst>
            </a:rPr>
            <a:t>” </a:t>
          </a:r>
        </a:p>
      </dsp:txBody>
      <dsp:txXfrm rot="-5400000">
        <a:off x="4359960" y="1309825"/>
        <a:ext cx="3815703" cy="49261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351"/>
          <a:ext cx="727280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351"/>
          <a:ext cx="7272808" cy="7193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lvl="0" algn="l" defTabSz="1778000" rtl="0">
            <a:lnSpc>
              <a:spcPct val="90000"/>
            </a:lnSpc>
            <a:spcBef>
              <a:spcPct val="0"/>
            </a:spcBef>
            <a:spcAft>
              <a:spcPct val="35000"/>
            </a:spcAft>
          </a:pPr>
          <a:r>
            <a:rPr lang="it-IT" sz="4000" b="1" kern="1200" dirty="0" smtClean="0">
              <a:solidFill>
                <a:schemeClr val="accent1">
                  <a:lumMod val="75000"/>
                </a:schemeClr>
              </a:solidFill>
            </a:rPr>
            <a:t>Perché siamo qui</a:t>
          </a:r>
          <a:endParaRPr lang="it-IT" sz="4000" b="1" kern="1200" dirty="0">
            <a:solidFill>
              <a:schemeClr val="accent1">
                <a:lumMod val="75000"/>
              </a:schemeClr>
            </a:solidFill>
          </a:endParaRPr>
        </a:p>
      </dsp:txBody>
      <dsp:txXfrm>
        <a:off x="0" y="351"/>
        <a:ext cx="7272808" cy="719376"/>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3E03EB-8615-4699-A45B-B57E780F0332}">
      <dsp:nvSpPr>
        <dsp:cNvPr id="0" name=""/>
        <dsp:cNvSpPr/>
      </dsp:nvSpPr>
      <dsp:spPr>
        <a:xfrm>
          <a:off x="1332" y="772064"/>
          <a:ext cx="3653126" cy="429779"/>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B2C7311-6F60-41E3-801D-0A7CE5665F13}">
      <dsp:nvSpPr>
        <dsp:cNvPr id="0" name=""/>
        <dsp:cNvSpPr/>
      </dsp:nvSpPr>
      <dsp:spPr>
        <a:xfrm>
          <a:off x="1332" y="933472"/>
          <a:ext cx="268371" cy="268371"/>
        </a:xfrm>
        <a:prstGeom prst="rect">
          <a:avLst/>
        </a:prstGeom>
        <a:solidFill>
          <a:srgbClr val="33CC33">
            <a:alpha val="90000"/>
          </a:srgb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3B3687A-029B-4B9E-A768-51742B3B318E}">
      <dsp:nvSpPr>
        <dsp:cNvPr id="0" name=""/>
        <dsp:cNvSpPr/>
      </dsp:nvSpPr>
      <dsp:spPr>
        <a:xfrm>
          <a:off x="1332" y="0"/>
          <a:ext cx="3653126" cy="7720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just" defTabSz="711200" rtl="0">
            <a:lnSpc>
              <a:spcPct val="90000"/>
            </a:lnSpc>
            <a:spcBef>
              <a:spcPct val="0"/>
            </a:spcBef>
            <a:spcAft>
              <a:spcPct val="35000"/>
            </a:spcAft>
          </a:pPr>
          <a:r>
            <a:rPr lang="it-IT" sz="1600" b="1" kern="1200" dirty="0" smtClean="0">
              <a:solidFill>
                <a:schemeClr val="accent6">
                  <a:lumMod val="75000"/>
                </a:schemeClr>
              </a:solidFill>
            </a:rPr>
            <a:t>finalizzati ad un diffuso innesto di innovazioni, anche non di natura tecnologica, nel sistema economico e sociale e rivolti ad un’ampia platea di beneficiari </a:t>
          </a:r>
        </a:p>
        <a:p>
          <a:pPr lvl="0" algn="just" defTabSz="711200" rtl="0">
            <a:lnSpc>
              <a:spcPct val="90000"/>
            </a:lnSpc>
            <a:spcBef>
              <a:spcPct val="0"/>
            </a:spcBef>
            <a:spcAft>
              <a:spcPct val="35000"/>
            </a:spcAft>
          </a:pPr>
          <a:endParaRPr lang="it-IT" sz="1600" b="1" kern="1200" dirty="0"/>
        </a:p>
      </dsp:txBody>
      <dsp:txXfrm>
        <a:off x="1332" y="0"/>
        <a:ext cx="3653126" cy="772064"/>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1D0415-9388-4E4F-9160-2793C0F671EE}">
      <dsp:nvSpPr>
        <dsp:cNvPr id="0" name=""/>
        <dsp:cNvSpPr/>
      </dsp:nvSpPr>
      <dsp:spPr>
        <a:xfrm>
          <a:off x="1695" y="842150"/>
          <a:ext cx="3984743" cy="468793"/>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E0879E-6F98-4834-B869-D3EE0F5BDB55}">
      <dsp:nvSpPr>
        <dsp:cNvPr id="0" name=""/>
        <dsp:cNvSpPr/>
      </dsp:nvSpPr>
      <dsp:spPr>
        <a:xfrm>
          <a:off x="1695" y="1018209"/>
          <a:ext cx="292733" cy="292733"/>
        </a:xfrm>
        <a:prstGeom prst="rect">
          <a:avLst/>
        </a:prstGeom>
        <a:solidFill>
          <a:schemeClr val="accent2">
            <a:alpha val="9000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3966723-4AA0-486E-A4AA-943FAAF5ED21}">
      <dsp:nvSpPr>
        <dsp:cNvPr id="0" name=""/>
        <dsp:cNvSpPr/>
      </dsp:nvSpPr>
      <dsp:spPr>
        <a:xfrm>
          <a:off x="1695" y="0"/>
          <a:ext cx="3984743" cy="8421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385" tIns="21590" rIns="32385" bIns="21590" numCol="1" spcCol="1270" anchor="ctr" anchorCtr="0">
          <a:noAutofit/>
        </a:bodyPr>
        <a:lstStyle/>
        <a:p>
          <a:pPr lvl="0" algn="just" defTabSz="755650" rtl="0">
            <a:lnSpc>
              <a:spcPct val="90000"/>
            </a:lnSpc>
            <a:spcBef>
              <a:spcPct val="0"/>
            </a:spcBef>
            <a:spcAft>
              <a:spcPct val="35000"/>
            </a:spcAft>
          </a:pPr>
          <a:r>
            <a:rPr lang="it-IT" sz="1700" b="1" kern="1200" dirty="0" smtClean="0">
              <a:solidFill>
                <a:schemeClr val="accent2"/>
              </a:solidFill>
            </a:rPr>
            <a:t>finalizzati al sostegno mirato a programmi ambiziosi di carattere strategico sotto il profilo dell’impatto sul contesto regionale</a:t>
          </a:r>
          <a:endParaRPr lang="it-IT" sz="1700" b="1" kern="1200" dirty="0">
            <a:solidFill>
              <a:schemeClr val="accent2"/>
            </a:solidFill>
          </a:endParaRPr>
        </a:p>
      </dsp:txBody>
      <dsp:txXfrm>
        <a:off x="1695" y="0"/>
        <a:ext cx="3984743" cy="842150"/>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E2CEB5-124D-44F5-9096-E7ECAF2F2101}">
      <dsp:nvSpPr>
        <dsp:cNvPr id="0" name=""/>
        <dsp:cNvSpPr/>
      </dsp:nvSpPr>
      <dsp:spPr>
        <a:xfrm>
          <a:off x="1370522" y="355946"/>
          <a:ext cx="767715" cy="767715"/>
        </a:xfrm>
        <a:prstGeom prst="gear9">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it-IT" sz="1200" b="1" kern="1200" dirty="0" smtClean="0">
              <a:solidFill>
                <a:schemeClr val="accent1">
                  <a:lumMod val="75000"/>
                </a:schemeClr>
              </a:solidFill>
              <a:effectLst>
                <a:outerShdw blurRad="38100" dist="38100" dir="2700000" algn="tl">
                  <a:srgbClr val="000000">
                    <a:alpha val="43137"/>
                  </a:srgbClr>
                </a:outerShdw>
              </a:effectLst>
              <a:latin typeface="Neo Sans Std Medium"/>
            </a:rPr>
            <a:t>OT 1 </a:t>
          </a:r>
          <a:endParaRPr lang="it-IT" sz="1200" b="1" kern="1200" dirty="0">
            <a:solidFill>
              <a:schemeClr val="accent1">
                <a:lumMod val="75000"/>
              </a:schemeClr>
            </a:solidFill>
            <a:effectLst>
              <a:outerShdw blurRad="38100" dist="38100" dir="2700000" algn="tl">
                <a:srgbClr val="000000">
                  <a:alpha val="43137"/>
                </a:srgbClr>
              </a:outerShdw>
            </a:effectLst>
            <a:latin typeface="Neo Sans Std Medium"/>
          </a:endParaRPr>
        </a:p>
      </dsp:txBody>
      <dsp:txXfrm>
        <a:off x="1524867" y="535780"/>
        <a:ext cx="459025" cy="394621"/>
      </dsp:txXfrm>
    </dsp:sp>
    <dsp:sp modelId="{48AC5F59-43C7-463B-9C6A-CEA2081E1C1C}">
      <dsp:nvSpPr>
        <dsp:cNvPr id="0" name=""/>
        <dsp:cNvSpPr/>
      </dsp:nvSpPr>
      <dsp:spPr>
        <a:xfrm>
          <a:off x="1002665" y="620375"/>
          <a:ext cx="558338" cy="558338"/>
        </a:xfrm>
        <a:prstGeom prst="gear6">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it-IT" sz="1200" b="1" kern="1200" dirty="0" smtClean="0">
              <a:solidFill>
                <a:schemeClr val="accent1">
                  <a:lumMod val="75000"/>
                </a:schemeClr>
              </a:solidFill>
              <a:effectLst>
                <a:outerShdw blurRad="38100" dist="38100" dir="2700000" algn="tl">
                  <a:srgbClr val="000000">
                    <a:alpha val="43137"/>
                  </a:srgbClr>
                </a:outerShdw>
              </a:effectLst>
              <a:latin typeface="Neo Sans Std Medium"/>
            </a:rPr>
            <a:t>OT 2</a:t>
          </a:r>
          <a:endParaRPr lang="it-IT" sz="1200" b="1" kern="1200" dirty="0">
            <a:solidFill>
              <a:schemeClr val="accent1">
                <a:lumMod val="75000"/>
              </a:schemeClr>
            </a:solidFill>
            <a:effectLst>
              <a:outerShdw blurRad="38100" dist="38100" dir="2700000" algn="tl">
                <a:srgbClr val="000000">
                  <a:alpha val="43137"/>
                </a:srgbClr>
              </a:outerShdw>
            </a:effectLst>
            <a:latin typeface="Neo Sans Std Medium"/>
          </a:endParaRPr>
        </a:p>
      </dsp:txBody>
      <dsp:txXfrm>
        <a:off x="1143228" y="761788"/>
        <a:ext cx="277212" cy="275512"/>
      </dsp:txXfrm>
    </dsp:sp>
    <dsp:sp modelId="{9C58820E-B88E-42EC-B94E-53580DE862F7}">
      <dsp:nvSpPr>
        <dsp:cNvPr id="0" name=""/>
        <dsp:cNvSpPr/>
      </dsp:nvSpPr>
      <dsp:spPr>
        <a:xfrm>
          <a:off x="1472100" y="251807"/>
          <a:ext cx="944290" cy="944290"/>
        </a:xfrm>
        <a:prstGeom prst="circularArrow">
          <a:avLst>
            <a:gd name="adj1" fmla="val 4878"/>
            <a:gd name="adj2" fmla="val 312630"/>
            <a:gd name="adj3" fmla="val 2770429"/>
            <a:gd name="adj4" fmla="val 15829649"/>
            <a:gd name="adj5" fmla="val 5691"/>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71AF710-52C6-4140-9C37-87300CDE1B1A}">
      <dsp:nvSpPr>
        <dsp:cNvPr id="0" name=""/>
        <dsp:cNvSpPr/>
      </dsp:nvSpPr>
      <dsp:spPr>
        <a:xfrm>
          <a:off x="899274" y="573756"/>
          <a:ext cx="713975" cy="713975"/>
        </a:xfrm>
        <a:prstGeom prst="leftCircularArrow">
          <a:avLst>
            <a:gd name="adj1" fmla="val 6452"/>
            <a:gd name="adj2" fmla="val 429999"/>
            <a:gd name="adj3" fmla="val 10489124"/>
            <a:gd name="adj4" fmla="val 14837806"/>
            <a:gd name="adj5" fmla="val 7527"/>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E2CEB5-124D-44F5-9096-E7ECAF2F2101}">
      <dsp:nvSpPr>
        <dsp:cNvPr id="0" name=""/>
        <dsp:cNvSpPr/>
      </dsp:nvSpPr>
      <dsp:spPr>
        <a:xfrm>
          <a:off x="2201045" y="495782"/>
          <a:ext cx="1069318" cy="1069318"/>
        </a:xfrm>
        <a:prstGeom prst="gear9">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it-IT" sz="1200" b="1" kern="1200" dirty="0" smtClean="0">
              <a:solidFill>
                <a:schemeClr val="accent1">
                  <a:lumMod val="75000"/>
                </a:schemeClr>
              </a:solidFill>
              <a:effectLst>
                <a:outerShdw blurRad="38100" dist="38100" dir="2700000" algn="tl">
                  <a:srgbClr val="000000">
                    <a:alpha val="43137"/>
                  </a:srgbClr>
                </a:outerShdw>
              </a:effectLst>
              <a:latin typeface="Neo Sans Std Medium"/>
            </a:rPr>
            <a:t>OT 1 </a:t>
          </a:r>
          <a:endParaRPr lang="it-IT" sz="1200" b="1" kern="1200" dirty="0">
            <a:solidFill>
              <a:schemeClr val="accent1">
                <a:lumMod val="75000"/>
              </a:schemeClr>
            </a:solidFill>
            <a:effectLst>
              <a:outerShdw blurRad="38100" dist="38100" dir="2700000" algn="tl">
                <a:srgbClr val="000000">
                  <a:alpha val="43137"/>
                </a:srgbClr>
              </a:outerShdw>
            </a:effectLst>
            <a:latin typeface="Neo Sans Std Medium"/>
          </a:endParaRPr>
        </a:p>
      </dsp:txBody>
      <dsp:txXfrm>
        <a:off x="2416025" y="746265"/>
        <a:ext cx="639358" cy="549651"/>
      </dsp:txXfrm>
    </dsp:sp>
    <dsp:sp modelId="{48AC5F59-43C7-463B-9C6A-CEA2081E1C1C}">
      <dsp:nvSpPr>
        <dsp:cNvPr id="0" name=""/>
        <dsp:cNvSpPr/>
      </dsp:nvSpPr>
      <dsp:spPr>
        <a:xfrm>
          <a:off x="1542621" y="864095"/>
          <a:ext cx="777686" cy="777686"/>
        </a:xfrm>
        <a:prstGeom prst="gear6">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it-IT" sz="1200" b="1" kern="1200" dirty="0" smtClean="0">
              <a:solidFill>
                <a:schemeClr val="accent1">
                  <a:lumMod val="75000"/>
                </a:schemeClr>
              </a:solidFill>
              <a:effectLst>
                <a:outerShdw blurRad="38100" dist="38100" dir="2700000" algn="tl">
                  <a:srgbClr val="000000">
                    <a:alpha val="43137"/>
                  </a:srgbClr>
                </a:outerShdw>
              </a:effectLst>
              <a:latin typeface="Neo Sans Std Medium"/>
            </a:rPr>
            <a:t>OT 2</a:t>
          </a:r>
          <a:endParaRPr lang="it-IT" sz="1200" b="1" kern="1200" dirty="0">
            <a:solidFill>
              <a:schemeClr val="accent1">
                <a:lumMod val="75000"/>
              </a:schemeClr>
            </a:solidFill>
            <a:effectLst>
              <a:outerShdw blurRad="38100" dist="38100" dir="2700000" algn="tl">
                <a:srgbClr val="000000">
                  <a:alpha val="43137"/>
                </a:srgbClr>
              </a:outerShdw>
            </a:effectLst>
            <a:latin typeface="Neo Sans Std Medium"/>
          </a:endParaRPr>
        </a:p>
      </dsp:txBody>
      <dsp:txXfrm>
        <a:off x="1738406" y="1061063"/>
        <a:ext cx="386116" cy="383750"/>
      </dsp:txXfrm>
    </dsp:sp>
    <dsp:sp modelId="{9C58820E-B88E-42EC-B94E-53580DE862F7}">
      <dsp:nvSpPr>
        <dsp:cNvPr id="0" name=""/>
        <dsp:cNvSpPr/>
      </dsp:nvSpPr>
      <dsp:spPr>
        <a:xfrm>
          <a:off x="2219493" y="338437"/>
          <a:ext cx="1315262" cy="1315262"/>
        </a:xfrm>
        <a:prstGeom prst="circularArrow">
          <a:avLst>
            <a:gd name="adj1" fmla="val 4878"/>
            <a:gd name="adj2" fmla="val 312630"/>
            <a:gd name="adj3" fmla="val 2888121"/>
            <a:gd name="adj4" fmla="val 15610276"/>
            <a:gd name="adj5" fmla="val 5691"/>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71AF710-52C6-4140-9C37-87300CDE1B1A}">
      <dsp:nvSpPr>
        <dsp:cNvPr id="0" name=""/>
        <dsp:cNvSpPr/>
      </dsp:nvSpPr>
      <dsp:spPr>
        <a:xfrm>
          <a:off x="1398612" y="792090"/>
          <a:ext cx="994466" cy="994466"/>
        </a:xfrm>
        <a:prstGeom prst="leftCircularArrow">
          <a:avLst>
            <a:gd name="adj1" fmla="val 6452"/>
            <a:gd name="adj2" fmla="val 429999"/>
            <a:gd name="adj3" fmla="val 10489124"/>
            <a:gd name="adj4" fmla="val 14837806"/>
            <a:gd name="adj5" fmla="val 7527"/>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318694-7D13-4394-9999-743EFAEC9488}">
      <dsp:nvSpPr>
        <dsp:cNvPr id="0" name=""/>
        <dsp:cNvSpPr/>
      </dsp:nvSpPr>
      <dsp:spPr>
        <a:xfrm>
          <a:off x="1967738" y="0"/>
          <a:ext cx="1704679" cy="430887"/>
        </a:xfrm>
        <a:prstGeom prst="homePlate">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2004" rIns="16002" bIns="32004" numCol="1" spcCol="1270" anchor="ctr" anchorCtr="0">
          <a:noAutofit/>
        </a:bodyPr>
        <a:lstStyle/>
        <a:p>
          <a:pPr lvl="0" algn="ctr" defTabSz="533400" rtl="0">
            <a:lnSpc>
              <a:spcPct val="90000"/>
            </a:lnSpc>
            <a:spcBef>
              <a:spcPct val="0"/>
            </a:spcBef>
            <a:spcAft>
              <a:spcPct val="35000"/>
            </a:spcAft>
          </a:pPr>
          <a:r>
            <a:rPr lang="it-IT" sz="1200" kern="1200" dirty="0" smtClean="0"/>
            <a:t>Verso il PO FESR 2014-2020</a:t>
          </a:r>
          <a:endParaRPr lang="it-IT" sz="1200" kern="1200" dirty="0"/>
        </a:p>
      </dsp:txBody>
      <dsp:txXfrm>
        <a:off x="1967738" y="0"/>
        <a:ext cx="1596957" cy="430887"/>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145999-397C-4B26-80C5-A6DCCF277918}">
      <dsp:nvSpPr>
        <dsp:cNvPr id="0" name=""/>
        <dsp:cNvSpPr/>
      </dsp:nvSpPr>
      <dsp:spPr>
        <a:xfrm>
          <a:off x="0" y="383479"/>
          <a:ext cx="1847058" cy="23500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rtl="0">
            <a:lnSpc>
              <a:spcPct val="90000"/>
            </a:lnSpc>
            <a:spcBef>
              <a:spcPct val="0"/>
            </a:spcBef>
            <a:spcAft>
              <a:spcPct val="35000"/>
            </a:spcAft>
          </a:pPr>
          <a:r>
            <a:rPr lang="it-IT" sz="1100" kern="1200" dirty="0" smtClean="0"/>
            <a:t>Mission Oriented </a:t>
          </a:r>
          <a:endParaRPr lang="it-IT" sz="1100" kern="1200" dirty="0"/>
        </a:p>
      </dsp:txBody>
      <dsp:txXfrm>
        <a:off x="11472" y="394951"/>
        <a:ext cx="1824114" cy="212059"/>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145999-397C-4B26-80C5-A6DCCF277918}">
      <dsp:nvSpPr>
        <dsp:cNvPr id="0" name=""/>
        <dsp:cNvSpPr/>
      </dsp:nvSpPr>
      <dsp:spPr>
        <a:xfrm>
          <a:off x="0" y="237624"/>
          <a:ext cx="1794661" cy="23500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rtl="0">
            <a:lnSpc>
              <a:spcPct val="90000"/>
            </a:lnSpc>
            <a:spcBef>
              <a:spcPct val="0"/>
            </a:spcBef>
            <a:spcAft>
              <a:spcPct val="35000"/>
            </a:spcAft>
          </a:pPr>
          <a:r>
            <a:rPr lang="it-IT" sz="1100" kern="1200" dirty="0" smtClean="0"/>
            <a:t>Diffusion  Oriented </a:t>
          </a:r>
          <a:endParaRPr lang="it-IT" sz="1100" kern="1200" dirty="0"/>
        </a:p>
      </dsp:txBody>
      <dsp:txXfrm>
        <a:off x="11472" y="249096"/>
        <a:ext cx="1771717" cy="212059"/>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7FC795-A476-4946-BE97-EF1BF71309EC}">
      <dsp:nvSpPr>
        <dsp:cNvPr id="0" name=""/>
        <dsp:cNvSpPr/>
      </dsp:nvSpPr>
      <dsp:spPr>
        <a:xfrm>
          <a:off x="0" y="13590"/>
          <a:ext cx="2016224" cy="5499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rtl="0">
            <a:lnSpc>
              <a:spcPct val="90000"/>
            </a:lnSpc>
            <a:spcBef>
              <a:spcPct val="0"/>
            </a:spcBef>
            <a:spcAft>
              <a:spcPct val="35000"/>
            </a:spcAft>
          </a:pPr>
          <a:r>
            <a:rPr lang="it-IT" sz="1000" kern="1200" dirty="0" smtClean="0"/>
            <a:t>Rafforzamento competenze scientifiche e produttive legate alle KETs </a:t>
          </a:r>
          <a:endParaRPr lang="it-IT" sz="1000" kern="1200" dirty="0"/>
        </a:p>
      </dsp:txBody>
      <dsp:txXfrm>
        <a:off x="26844" y="40434"/>
        <a:ext cx="1962536" cy="496212"/>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7320C9-9B3C-43B0-ABDA-0630C0911D53}">
      <dsp:nvSpPr>
        <dsp:cNvPr id="0" name=""/>
        <dsp:cNvSpPr/>
      </dsp:nvSpPr>
      <dsp:spPr>
        <a:xfrm>
          <a:off x="0" y="3824"/>
          <a:ext cx="2016224" cy="5499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rtl="0">
            <a:lnSpc>
              <a:spcPct val="90000"/>
            </a:lnSpc>
            <a:spcBef>
              <a:spcPct val="0"/>
            </a:spcBef>
            <a:spcAft>
              <a:spcPct val="35000"/>
            </a:spcAft>
          </a:pPr>
          <a:r>
            <a:rPr lang="it-IT" sz="1000" kern="1200" dirty="0" smtClean="0"/>
            <a:t>Applicazioni delle KET s ai settori esistenti con maggiori potenzialità di sviluppo competitivo</a:t>
          </a:r>
          <a:endParaRPr lang="it-IT" sz="1000" kern="1200" dirty="0"/>
        </a:p>
      </dsp:txBody>
      <dsp:txXfrm>
        <a:off x="26844" y="30668"/>
        <a:ext cx="1962536" cy="496212"/>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E72158-CB87-4623-BAB3-0A89D8A44D36}">
      <dsp:nvSpPr>
        <dsp:cNvPr id="0" name=""/>
        <dsp:cNvSpPr/>
      </dsp:nvSpPr>
      <dsp:spPr>
        <a:xfrm>
          <a:off x="0" y="8848"/>
          <a:ext cx="2016224" cy="3978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rtl="0">
            <a:lnSpc>
              <a:spcPct val="90000"/>
            </a:lnSpc>
            <a:spcBef>
              <a:spcPct val="0"/>
            </a:spcBef>
            <a:spcAft>
              <a:spcPct val="35000"/>
            </a:spcAft>
          </a:pPr>
          <a:r>
            <a:rPr lang="it-IT" sz="1000" kern="1200" dirty="0" smtClean="0"/>
            <a:t>Creazione di un nuovo tessuto produttivo innovation based</a:t>
          </a:r>
          <a:endParaRPr lang="it-IT" sz="1000" kern="1200" dirty="0"/>
        </a:p>
      </dsp:txBody>
      <dsp:txXfrm>
        <a:off x="19419" y="28267"/>
        <a:ext cx="1977386" cy="35896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C3370D-7B6A-4F3C-8C78-C38DF1D2FA31}">
      <dsp:nvSpPr>
        <dsp:cNvPr id="0" name=""/>
        <dsp:cNvSpPr/>
      </dsp:nvSpPr>
      <dsp:spPr>
        <a:xfrm rot="5400000">
          <a:off x="4086234" y="-577148"/>
          <a:ext cx="3970959" cy="5714554"/>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85750" lvl="1" indent="-285750" algn="l" defTabSz="1600200">
            <a:lnSpc>
              <a:spcPct val="90000"/>
            </a:lnSpc>
            <a:spcBef>
              <a:spcPct val="0"/>
            </a:spcBef>
            <a:spcAft>
              <a:spcPct val="15000"/>
            </a:spcAft>
            <a:buChar char="••"/>
          </a:pPr>
          <a:r>
            <a:rPr lang="it-IT" sz="3600" b="0" kern="1200" dirty="0" smtClean="0">
              <a:solidFill>
                <a:schemeClr val="accent1"/>
              </a:solidFill>
            </a:rPr>
            <a:t>I partecipanti al tavolo hanno il compito di </a:t>
          </a:r>
          <a:r>
            <a:rPr lang="it-IT" sz="3600" b="0" u="sng" kern="1200" dirty="0" smtClean="0">
              <a:solidFill>
                <a:srgbClr val="FF0000"/>
              </a:solidFill>
            </a:rPr>
            <a:t>condividere e fornire  conoscenze </a:t>
          </a:r>
          <a:r>
            <a:rPr lang="it-IT" sz="3600" b="0" kern="1200" dirty="0" smtClean="0">
              <a:solidFill>
                <a:schemeClr val="accent1"/>
              </a:solidFill>
            </a:rPr>
            <a:t>in termini di analisi, diagnosi, </a:t>
          </a:r>
          <a:r>
            <a:rPr lang="it-IT" sz="3600" b="0" kern="1200" dirty="0" err="1" smtClean="0">
              <a:solidFill>
                <a:schemeClr val="accent1"/>
              </a:solidFill>
            </a:rPr>
            <a:t>vision</a:t>
          </a:r>
          <a:r>
            <a:rPr lang="it-IT" sz="3600" b="0" kern="1200" dirty="0" smtClean="0">
              <a:solidFill>
                <a:schemeClr val="accent1"/>
              </a:solidFill>
            </a:rPr>
            <a:t> per </a:t>
          </a:r>
          <a:r>
            <a:rPr lang="it-IT" sz="3600" b="0" u="sng" kern="1200" dirty="0" smtClean="0">
              <a:solidFill>
                <a:srgbClr val="FF0000"/>
              </a:solidFill>
            </a:rPr>
            <a:t>completare</a:t>
          </a:r>
          <a:r>
            <a:rPr lang="it-IT" sz="3600" b="0" kern="1200" dirty="0" smtClean="0">
              <a:solidFill>
                <a:schemeClr val="accent1"/>
              </a:solidFill>
            </a:rPr>
            <a:t>  la definizione della RIS 3 Sicilia</a:t>
          </a:r>
          <a:endParaRPr lang="it-IT" sz="3600" b="0" kern="1200" dirty="0">
            <a:solidFill>
              <a:schemeClr val="accent1"/>
            </a:solidFill>
          </a:endParaRPr>
        </a:p>
      </dsp:txBody>
      <dsp:txXfrm rot="-5400000">
        <a:off x="3214437" y="488495"/>
        <a:ext cx="5520708" cy="3583267"/>
      </dsp:txXfrm>
    </dsp:sp>
    <dsp:sp modelId="{4B75031E-EAE2-44AE-A204-79AAE3CD8BF2}">
      <dsp:nvSpPr>
        <dsp:cNvPr id="0" name=""/>
        <dsp:cNvSpPr/>
      </dsp:nvSpPr>
      <dsp:spPr>
        <a:xfrm>
          <a:off x="0" y="0"/>
          <a:ext cx="3214437" cy="4963699"/>
        </a:xfrm>
        <a:prstGeom prst="roundRect">
          <a:avLst/>
        </a:prstGeom>
        <a:gradFill rotWithShape="0">
          <a:gsLst>
            <a:gs pos="0">
              <a:schemeClr val="accent2">
                <a:alpha val="90000"/>
                <a:hueOff val="0"/>
                <a:satOff val="0"/>
                <a:lumOff val="0"/>
                <a:alphaOff val="0"/>
                <a:shade val="51000"/>
                <a:satMod val="130000"/>
              </a:schemeClr>
            </a:gs>
            <a:gs pos="80000">
              <a:schemeClr val="accent2">
                <a:alpha val="90000"/>
                <a:hueOff val="0"/>
                <a:satOff val="0"/>
                <a:lumOff val="0"/>
                <a:alphaOff val="0"/>
                <a:shade val="93000"/>
                <a:satMod val="130000"/>
              </a:schemeClr>
            </a:gs>
            <a:gs pos="100000">
              <a:schemeClr val="accent2">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6210" tIns="78105" rIns="156210" bIns="78105" numCol="1" spcCol="1270" anchor="ctr" anchorCtr="0">
          <a:noAutofit/>
        </a:bodyPr>
        <a:lstStyle/>
        <a:p>
          <a:pPr lvl="0" algn="ctr" defTabSz="1822450">
            <a:lnSpc>
              <a:spcPct val="90000"/>
            </a:lnSpc>
            <a:spcBef>
              <a:spcPct val="0"/>
            </a:spcBef>
            <a:spcAft>
              <a:spcPct val="35000"/>
            </a:spcAft>
          </a:pPr>
          <a:r>
            <a:rPr lang="it-IT" sz="4100" b="1" kern="1200" dirty="0" smtClean="0"/>
            <a:t>APPROCCIO BOTTOM UP</a:t>
          </a:r>
          <a:endParaRPr lang="it-IT" sz="4100" b="1" kern="1200" dirty="0"/>
        </a:p>
      </dsp:txBody>
      <dsp:txXfrm>
        <a:off x="156916" y="156916"/>
        <a:ext cx="2900605" cy="4649867"/>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4CACD3-EE37-4975-9E62-2F328C6C370E}">
      <dsp:nvSpPr>
        <dsp:cNvPr id="0" name=""/>
        <dsp:cNvSpPr/>
      </dsp:nvSpPr>
      <dsp:spPr>
        <a:xfrm>
          <a:off x="0" y="57873"/>
          <a:ext cx="2016224" cy="7137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rtl="0">
            <a:lnSpc>
              <a:spcPct val="90000"/>
            </a:lnSpc>
            <a:spcBef>
              <a:spcPct val="0"/>
            </a:spcBef>
            <a:spcAft>
              <a:spcPct val="35000"/>
            </a:spcAft>
          </a:pPr>
          <a:r>
            <a:rPr lang="it-IT" sz="1000" kern="1200" dirty="0" smtClean="0"/>
            <a:t>Sostegno all’uso diffuso delle Innovazioni  (anche non </a:t>
          </a:r>
          <a:r>
            <a:rPr lang="it-IT" sz="1000" kern="1200" dirty="0" err="1" smtClean="0"/>
            <a:t>tech</a:t>
          </a:r>
          <a:r>
            <a:rPr lang="it-IT" sz="1000" kern="1200" dirty="0" smtClean="0"/>
            <a:t>) in risposta alle sfide sociali emergenti negli ambienti urbani e marginali</a:t>
          </a:r>
          <a:endParaRPr lang="it-IT" sz="1000" kern="1200" dirty="0"/>
        </a:p>
      </dsp:txBody>
      <dsp:txXfrm>
        <a:off x="34840" y="92713"/>
        <a:ext cx="1946544" cy="644020"/>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6AD86E-5163-40B0-AE34-CC51738A6EFB}">
      <dsp:nvSpPr>
        <dsp:cNvPr id="0" name=""/>
        <dsp:cNvSpPr/>
      </dsp:nvSpPr>
      <dsp:spPr>
        <a:xfrm>
          <a:off x="0" y="0"/>
          <a:ext cx="2016224" cy="5499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rtl="0">
            <a:lnSpc>
              <a:spcPct val="90000"/>
            </a:lnSpc>
            <a:spcBef>
              <a:spcPct val="0"/>
            </a:spcBef>
            <a:spcAft>
              <a:spcPct val="35000"/>
            </a:spcAft>
          </a:pPr>
          <a:r>
            <a:rPr lang="it-IT" sz="1000" kern="1200" dirty="0" smtClean="0"/>
            <a:t>Sostegno a nuove categorie di innovatori sociali e di creativi  culturali </a:t>
          </a:r>
          <a:endParaRPr lang="it-IT" sz="1000" kern="1200" dirty="0"/>
        </a:p>
      </dsp:txBody>
      <dsp:txXfrm>
        <a:off x="26844" y="26844"/>
        <a:ext cx="1962536" cy="496212"/>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E7FA22-3B92-4733-BB85-6986F285FB2A}">
      <dsp:nvSpPr>
        <dsp:cNvPr id="0" name=""/>
        <dsp:cNvSpPr/>
      </dsp:nvSpPr>
      <dsp:spPr>
        <a:xfrm>
          <a:off x="0" y="0"/>
          <a:ext cx="6523471" cy="6364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rtl="0">
            <a:lnSpc>
              <a:spcPct val="90000"/>
            </a:lnSpc>
            <a:spcBef>
              <a:spcPct val="0"/>
            </a:spcBef>
            <a:spcAft>
              <a:spcPct val="35000"/>
            </a:spcAft>
          </a:pPr>
          <a:r>
            <a:rPr lang="it-IT" sz="1100" kern="1200" dirty="0" smtClean="0"/>
            <a:t>Diffusione della cultura dell’innovazione a tutti i livelli della società regionale</a:t>
          </a:r>
          <a:endParaRPr lang="it-IT" sz="1100" kern="1200" dirty="0"/>
        </a:p>
      </dsp:txBody>
      <dsp:txXfrm>
        <a:off x="31070" y="31070"/>
        <a:ext cx="6461331" cy="574340"/>
      </dsp:txXfrm>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0754" y="193559"/>
          <a:ext cx="379955" cy="379955"/>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290732" y="193559"/>
          <a:ext cx="2027202" cy="3799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Accordi di Programma/ITI</a:t>
          </a:r>
        </a:p>
        <a:p>
          <a:pPr lvl="0" algn="l" defTabSz="666750" rtl="0">
            <a:lnSpc>
              <a:spcPct val="100000"/>
            </a:lnSpc>
            <a:spcBef>
              <a:spcPct val="0"/>
            </a:spcBef>
            <a:spcAft>
              <a:spcPts val="0"/>
            </a:spcAft>
          </a:pPr>
          <a:r>
            <a:rPr lang="it-IT" sz="1500" kern="1200" dirty="0" smtClean="0">
              <a:latin typeface="Calibri" panose="020F0502020204030204" pitchFamily="34" charset="0"/>
            </a:rPr>
            <a:t> </a:t>
          </a:r>
          <a:r>
            <a:rPr lang="it-IT" sz="1500" i="1" kern="1200" dirty="0" smtClean="0">
              <a:latin typeface="Calibri" panose="020F0502020204030204" pitchFamily="34" charset="0"/>
            </a:rPr>
            <a:t>Procedure negoziali </a:t>
          </a:r>
          <a:endParaRPr lang="it-IT" sz="1500" i="1" kern="1200" dirty="0">
            <a:latin typeface="Calibri" panose="020F0502020204030204" pitchFamily="34" charset="0"/>
          </a:endParaRPr>
        </a:p>
      </dsp:txBody>
      <dsp:txXfrm>
        <a:off x="290732" y="193559"/>
        <a:ext cx="2027202" cy="379955"/>
      </dsp:txXfrm>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0984" y="139301"/>
          <a:ext cx="380822" cy="380822"/>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291395" y="139301"/>
          <a:ext cx="2031827" cy="3808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Contratti di Rete</a:t>
          </a:r>
        </a:p>
        <a:p>
          <a:pPr lvl="0" algn="l" defTabSz="666750" rtl="0">
            <a:lnSpc>
              <a:spcPct val="100000"/>
            </a:lnSpc>
            <a:spcBef>
              <a:spcPct val="0"/>
            </a:spcBef>
            <a:spcAft>
              <a:spcPts val="0"/>
            </a:spcAft>
          </a:pPr>
          <a:r>
            <a:rPr lang="it-IT" sz="1500" b="1" kern="1200" dirty="0" smtClean="0">
              <a:latin typeface="Calibri" panose="020F0502020204030204" pitchFamily="34" charset="0"/>
            </a:rPr>
            <a:t> </a:t>
          </a:r>
          <a:r>
            <a:rPr lang="it-IT" sz="1500" b="0" i="1" kern="1200" dirty="0" smtClean="0">
              <a:latin typeface="Calibri" panose="020F0502020204030204" pitchFamily="34" charset="0"/>
            </a:rPr>
            <a:t>Procedure negoziali </a:t>
          </a:r>
          <a:endParaRPr lang="it-IT" sz="1500" b="0" i="1" kern="1200" dirty="0">
            <a:latin typeface="Calibri" panose="020F0502020204030204" pitchFamily="34" charset="0"/>
          </a:endParaRPr>
        </a:p>
      </dsp:txBody>
      <dsp:txXfrm>
        <a:off x="291395" y="139301"/>
        <a:ext cx="2031827" cy="380822"/>
      </dsp:txXfrm>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058" y="177902"/>
          <a:ext cx="411269" cy="411269"/>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4693" y="177902"/>
          <a:ext cx="2194275" cy="4112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Incentivi a Start up e spin off</a:t>
          </a:r>
        </a:p>
        <a:p>
          <a:pPr lvl="0" algn="l" defTabSz="666750" rtl="0">
            <a:lnSpc>
              <a:spcPct val="100000"/>
            </a:lnSpc>
            <a:spcBef>
              <a:spcPct val="0"/>
            </a:spcBef>
            <a:spcAft>
              <a:spcPts val="0"/>
            </a:spcAft>
          </a:pPr>
          <a:r>
            <a:rPr lang="it-IT" sz="1500" kern="1200" dirty="0" smtClean="0">
              <a:latin typeface="Calibri" panose="020F0502020204030204" pitchFamily="34" charset="0"/>
            </a:rPr>
            <a:t> </a:t>
          </a:r>
          <a:endParaRPr lang="it-IT" sz="1500" i="1" kern="1200" dirty="0">
            <a:latin typeface="Calibri" panose="020F0502020204030204" pitchFamily="34" charset="0"/>
          </a:endParaRPr>
        </a:p>
      </dsp:txBody>
      <dsp:txXfrm>
        <a:off x="314693" y="177902"/>
        <a:ext cx="2194275" cy="411269"/>
      </dsp:txXfrm>
    </dsp:sp>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418" y="177223"/>
          <a:ext cx="412627" cy="41262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5732" y="177223"/>
          <a:ext cx="2201520" cy="412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Sostegno a Cluster Nazionali</a:t>
          </a:r>
        </a:p>
        <a:p>
          <a:pPr lvl="0" algn="l" defTabSz="666750" rtl="0">
            <a:lnSpc>
              <a:spcPct val="100000"/>
            </a:lnSpc>
            <a:spcBef>
              <a:spcPct val="0"/>
            </a:spcBef>
            <a:spcAft>
              <a:spcPts val="0"/>
            </a:spcAft>
          </a:pPr>
          <a:r>
            <a:rPr lang="it-IT" sz="1500" kern="1200" dirty="0" smtClean="0">
              <a:latin typeface="Calibri" panose="020F0502020204030204" pitchFamily="34" charset="0"/>
            </a:rPr>
            <a:t> </a:t>
          </a:r>
          <a:endParaRPr lang="it-IT" sz="1500" i="1" kern="1200" dirty="0">
            <a:latin typeface="Calibri" panose="020F0502020204030204" pitchFamily="34" charset="0"/>
          </a:endParaRPr>
        </a:p>
      </dsp:txBody>
      <dsp:txXfrm>
        <a:off x="315732" y="177223"/>
        <a:ext cx="2201520" cy="412627"/>
      </dsp:txXfrm>
    </dsp:sp>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418" y="177223"/>
          <a:ext cx="412627" cy="41262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5732" y="177223"/>
          <a:ext cx="2201520" cy="412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Cofinanziamento progetti Horizon 2020 </a:t>
          </a:r>
          <a:endParaRPr lang="it-IT" sz="1500" b="1" i="1" kern="1200" dirty="0">
            <a:latin typeface="Calibri" panose="020F0502020204030204" pitchFamily="34" charset="0"/>
          </a:endParaRPr>
        </a:p>
      </dsp:txBody>
      <dsp:txXfrm>
        <a:off x="315732" y="177223"/>
        <a:ext cx="2201520" cy="412627"/>
      </dsp:txXfrm>
    </dsp:sp>
  </dsp:spTree>
</dsp:drawing>
</file>

<file path=ppt/diagrams/drawing4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058" y="177902"/>
          <a:ext cx="411269" cy="411269"/>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4693" y="177902"/>
          <a:ext cx="2194275" cy="4112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Sostegno a Fondi di Venture Capital  </a:t>
          </a:r>
          <a:endParaRPr lang="it-IT" sz="1500" i="1" kern="1200" dirty="0">
            <a:latin typeface="Calibri" panose="020F0502020204030204" pitchFamily="34" charset="0"/>
          </a:endParaRPr>
        </a:p>
      </dsp:txBody>
      <dsp:txXfrm>
        <a:off x="314693" y="177902"/>
        <a:ext cx="2194275" cy="411269"/>
      </dsp:txXfrm>
    </dsp:sp>
  </dsp:spTree>
</dsp:drawing>
</file>

<file path=ppt/diagrams/drawing4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17421" y="162133"/>
          <a:ext cx="442807" cy="4428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38825" y="162133"/>
          <a:ext cx="2362542" cy="4428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just" defTabSz="666750" rtl="0">
            <a:lnSpc>
              <a:spcPct val="100000"/>
            </a:lnSpc>
            <a:spcBef>
              <a:spcPct val="0"/>
            </a:spcBef>
            <a:spcAft>
              <a:spcPts val="0"/>
            </a:spcAft>
          </a:pPr>
          <a:r>
            <a:rPr lang="it-IT" sz="1500" b="1" kern="1200" dirty="0" smtClean="0">
              <a:solidFill>
                <a:schemeClr val="tx1"/>
              </a:solidFill>
              <a:latin typeface="Calibri" panose="020F0502020204030204" pitchFamily="34" charset="0"/>
            </a:rPr>
            <a:t>Incentivi</a:t>
          </a:r>
        </a:p>
        <a:p>
          <a:pPr lvl="0" algn="l" defTabSz="666750" rtl="0">
            <a:lnSpc>
              <a:spcPct val="100000"/>
            </a:lnSpc>
            <a:spcBef>
              <a:spcPct val="0"/>
            </a:spcBef>
            <a:spcAft>
              <a:spcPts val="0"/>
            </a:spcAft>
          </a:pPr>
          <a:r>
            <a:rPr lang="it-IT" sz="1500" b="1" kern="1200" dirty="0" smtClean="0">
              <a:solidFill>
                <a:schemeClr val="tx1"/>
              </a:solidFill>
              <a:latin typeface="Calibri" panose="020F0502020204030204" pitchFamily="34" charset="0"/>
            </a:rPr>
            <a:t> </a:t>
          </a:r>
          <a:r>
            <a:rPr lang="it-IT" sz="1500" b="0" i="1" kern="1200" dirty="0" smtClean="0">
              <a:solidFill>
                <a:schemeClr val="tx1"/>
              </a:solidFill>
              <a:latin typeface="Calibri" panose="020F0502020204030204" pitchFamily="34" charset="0"/>
            </a:rPr>
            <a:t>a</a:t>
          </a:r>
          <a:r>
            <a:rPr lang="it-IT" sz="1500" b="1" kern="1200" dirty="0" smtClean="0">
              <a:solidFill>
                <a:schemeClr val="tx1"/>
              </a:solidFill>
              <a:latin typeface="Calibri" panose="020F0502020204030204" pitchFamily="34" charset="0"/>
            </a:rPr>
            <a:t> </a:t>
          </a:r>
          <a:r>
            <a:rPr lang="it-IT" sz="1500" b="0" i="1" kern="1200" dirty="0" smtClean="0">
              <a:solidFill>
                <a:schemeClr val="tx1"/>
              </a:solidFill>
              <a:latin typeface="Calibri" panose="020F0502020204030204" pitchFamily="34" charset="0"/>
            </a:rPr>
            <a:t>brevettazione, prototipazione e copertura costi fase pre seed</a:t>
          </a:r>
          <a:endParaRPr lang="it-IT" sz="1500" b="0" i="1" kern="1200" dirty="0">
            <a:solidFill>
              <a:schemeClr val="tx1"/>
            </a:solidFill>
            <a:latin typeface="Calibri" panose="020F0502020204030204" pitchFamily="34" charset="0"/>
          </a:endParaRPr>
        </a:p>
      </dsp:txBody>
      <dsp:txXfrm>
        <a:off x="338825" y="162133"/>
        <a:ext cx="2362542" cy="44280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351"/>
          <a:ext cx="727280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351"/>
          <a:ext cx="7272808" cy="7193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lvl="0" algn="l" defTabSz="1778000" rtl="0">
            <a:lnSpc>
              <a:spcPct val="90000"/>
            </a:lnSpc>
            <a:spcBef>
              <a:spcPct val="0"/>
            </a:spcBef>
            <a:spcAft>
              <a:spcPct val="35000"/>
            </a:spcAft>
          </a:pPr>
          <a:r>
            <a:rPr lang="it-IT" sz="4000" b="1" kern="1200" dirty="0" smtClean="0">
              <a:solidFill>
                <a:schemeClr val="accent1">
                  <a:lumMod val="75000"/>
                </a:schemeClr>
              </a:solidFill>
            </a:rPr>
            <a:t>Cosa dobbiamo fare</a:t>
          </a:r>
          <a:endParaRPr lang="it-IT" sz="4000" b="1" kern="1200" dirty="0">
            <a:solidFill>
              <a:schemeClr val="accent1">
                <a:lumMod val="75000"/>
              </a:schemeClr>
            </a:solidFill>
          </a:endParaRPr>
        </a:p>
      </dsp:txBody>
      <dsp:txXfrm>
        <a:off x="0" y="351"/>
        <a:ext cx="7272808" cy="719376"/>
      </dsp:txXfrm>
    </dsp:sp>
  </dsp:spTree>
</dsp:drawing>
</file>

<file path=ppt/diagrams/drawing5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058" y="177902"/>
          <a:ext cx="411269" cy="411269"/>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4693" y="177902"/>
          <a:ext cx="2194275" cy="4112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Voucher Tecnologici e all’acquisizione di KIBS  </a:t>
          </a:r>
          <a:endParaRPr lang="it-IT" sz="1500" i="1" kern="1200" dirty="0">
            <a:latin typeface="Calibri" panose="020F0502020204030204" pitchFamily="34" charset="0"/>
          </a:endParaRPr>
        </a:p>
      </dsp:txBody>
      <dsp:txXfrm>
        <a:off x="314693" y="177902"/>
        <a:ext cx="2194275" cy="411269"/>
      </dsp:txXfrm>
    </dsp:sp>
  </dsp:spTree>
</dsp:drawing>
</file>

<file path=ppt/diagrams/drawing5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418" y="177223"/>
          <a:ext cx="412627" cy="41262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5732" y="177223"/>
          <a:ext cx="2201520" cy="412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Incentivi all’innovazione sociale</a:t>
          </a:r>
        </a:p>
        <a:p>
          <a:pPr lvl="0" algn="l" defTabSz="666750" rtl="0">
            <a:lnSpc>
              <a:spcPct val="100000"/>
            </a:lnSpc>
            <a:spcBef>
              <a:spcPct val="0"/>
            </a:spcBef>
            <a:spcAft>
              <a:spcPts val="0"/>
            </a:spcAft>
          </a:pPr>
          <a:r>
            <a:rPr lang="it-IT" sz="1500" kern="1200" dirty="0" smtClean="0">
              <a:latin typeface="Calibri" panose="020F0502020204030204" pitchFamily="34" charset="0"/>
            </a:rPr>
            <a:t> </a:t>
          </a:r>
          <a:endParaRPr lang="it-IT" sz="1500" i="1" kern="1200" dirty="0">
            <a:latin typeface="Calibri" panose="020F0502020204030204" pitchFamily="34" charset="0"/>
          </a:endParaRPr>
        </a:p>
      </dsp:txBody>
      <dsp:txXfrm>
        <a:off x="315732" y="177223"/>
        <a:ext cx="2201520" cy="412627"/>
      </dsp:txXfrm>
    </dsp:sp>
  </dsp:spTree>
</dsp:drawing>
</file>

<file path=ppt/diagrams/drawing5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418" y="177223"/>
          <a:ext cx="412627" cy="41262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5732" y="177223"/>
          <a:ext cx="2201520" cy="412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Azioni di attrazione di talenti</a:t>
          </a:r>
        </a:p>
        <a:p>
          <a:pPr lvl="0" algn="l" defTabSz="666750" rtl="0">
            <a:lnSpc>
              <a:spcPct val="100000"/>
            </a:lnSpc>
            <a:spcBef>
              <a:spcPct val="0"/>
            </a:spcBef>
            <a:spcAft>
              <a:spcPts val="0"/>
            </a:spcAft>
          </a:pPr>
          <a:r>
            <a:rPr lang="it-IT" sz="1500" kern="1200" dirty="0" smtClean="0">
              <a:latin typeface="Calibri" panose="020F0502020204030204" pitchFamily="34" charset="0"/>
            </a:rPr>
            <a:t> </a:t>
          </a:r>
          <a:endParaRPr lang="it-IT" sz="1500" i="1" kern="1200" dirty="0">
            <a:latin typeface="Calibri" panose="020F0502020204030204" pitchFamily="34" charset="0"/>
          </a:endParaRPr>
        </a:p>
      </dsp:txBody>
      <dsp:txXfrm>
        <a:off x="315732" y="177223"/>
        <a:ext cx="2201520" cy="412627"/>
      </dsp:txXfrm>
    </dsp:sp>
  </dsp:spTree>
</dsp:drawing>
</file>

<file path=ppt/diagrams/drawing5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058" y="177902"/>
          <a:ext cx="411269" cy="411269"/>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4693" y="177902"/>
          <a:ext cx="2194275" cy="4112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i="0" kern="1200" dirty="0" smtClean="0">
              <a:latin typeface="Calibri" panose="020F0502020204030204" pitchFamily="34" charset="0"/>
            </a:rPr>
            <a:t>Procurement</a:t>
          </a:r>
          <a:r>
            <a:rPr lang="it-IT" sz="1500" b="1" i="0" kern="1200" baseline="0" dirty="0" smtClean="0">
              <a:latin typeface="Calibri" panose="020F0502020204030204" pitchFamily="34" charset="0"/>
            </a:rPr>
            <a:t> precommerciale</a:t>
          </a:r>
          <a:endParaRPr lang="it-IT" sz="1500" b="1" i="0" kern="1200" dirty="0">
            <a:latin typeface="Calibri" panose="020F0502020204030204" pitchFamily="34" charset="0"/>
          </a:endParaRPr>
        </a:p>
      </dsp:txBody>
      <dsp:txXfrm>
        <a:off x="314693" y="177902"/>
        <a:ext cx="2194275" cy="411269"/>
      </dsp:txXfrm>
    </dsp:sp>
  </dsp:spTree>
</dsp:drawing>
</file>

<file path=ppt/diagrams/drawing5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7938" y="177701"/>
          <a:ext cx="411671" cy="411671"/>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3774" y="177701"/>
          <a:ext cx="2196420" cy="4116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i="0" kern="1200" dirty="0" smtClean="0">
              <a:latin typeface="Calibri" panose="020F0502020204030204" pitchFamily="34" charset="0"/>
            </a:rPr>
            <a:t>Living</a:t>
          </a:r>
          <a:r>
            <a:rPr lang="it-IT" sz="1500" b="1" i="0" kern="1200" baseline="0" dirty="0" smtClean="0">
              <a:latin typeface="Calibri" panose="020F0502020204030204" pitchFamily="34" charset="0"/>
            </a:rPr>
            <a:t> Labs e Fab Labs</a:t>
          </a:r>
          <a:endParaRPr lang="it-IT" sz="1500" b="1" i="0" kern="1200" dirty="0">
            <a:latin typeface="Calibri" panose="020F0502020204030204" pitchFamily="34" charset="0"/>
          </a:endParaRPr>
        </a:p>
      </dsp:txBody>
      <dsp:txXfrm>
        <a:off x="313774" y="177701"/>
        <a:ext cx="2196420" cy="411671"/>
      </dsp:txXfrm>
    </dsp:sp>
  </dsp:spTree>
</dsp:drawing>
</file>

<file path=ppt/diagrams/drawing5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058" y="177902"/>
          <a:ext cx="411269" cy="411269"/>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4693" y="177902"/>
          <a:ext cx="2194275" cy="4112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i="0" kern="1200" dirty="0" smtClean="0">
              <a:latin typeface="Calibri" panose="020F0502020204030204" pitchFamily="34" charset="0"/>
            </a:rPr>
            <a:t>Formazione</a:t>
          </a:r>
          <a:r>
            <a:rPr lang="it-IT" sz="1500" b="1" i="0" kern="1200" baseline="0" dirty="0" smtClean="0">
              <a:latin typeface="Calibri" panose="020F0502020204030204" pitchFamily="34" charset="0"/>
            </a:rPr>
            <a:t> continua e permanente su ICT</a:t>
          </a:r>
          <a:endParaRPr lang="it-IT" sz="1500" b="1" i="0" kern="1200" dirty="0">
            <a:latin typeface="Calibri" panose="020F0502020204030204" pitchFamily="34" charset="0"/>
          </a:endParaRPr>
        </a:p>
      </dsp:txBody>
      <dsp:txXfrm>
        <a:off x="314693" y="177902"/>
        <a:ext cx="2194275" cy="411269"/>
      </dsp:txXfrm>
    </dsp:sp>
  </dsp:spTree>
</dsp:drawing>
</file>

<file path=ppt/diagrams/drawing5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7938" y="177701"/>
          <a:ext cx="411671" cy="411671"/>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3774" y="177701"/>
          <a:ext cx="2196420" cy="4116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i="0" kern="1200" dirty="0" smtClean="0">
              <a:latin typeface="Calibri" panose="020F0502020204030204" pitchFamily="34" charset="0"/>
            </a:rPr>
            <a:t>Sostegno a PEI</a:t>
          </a:r>
          <a:endParaRPr lang="it-IT" sz="1500" b="1" i="0" kern="1200" dirty="0">
            <a:latin typeface="Calibri" panose="020F0502020204030204" pitchFamily="34" charset="0"/>
          </a:endParaRPr>
        </a:p>
      </dsp:txBody>
      <dsp:txXfrm>
        <a:off x="313774" y="177701"/>
        <a:ext cx="2196420" cy="411671"/>
      </dsp:txXfrm>
    </dsp:sp>
  </dsp:spTree>
</dsp:drawing>
</file>

<file path=ppt/diagrams/drawing5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12625" y="171176"/>
          <a:ext cx="424720" cy="42472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24985" y="171176"/>
          <a:ext cx="2266036" cy="424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i="0" kern="1200" dirty="0" smtClean="0">
              <a:latin typeface="Calibri" panose="020F0502020204030204" pitchFamily="34" charset="0"/>
            </a:rPr>
            <a:t>Formazione Open </a:t>
          </a:r>
          <a:r>
            <a:rPr lang="it-IT" sz="1500" b="1" i="0" kern="1200" dirty="0" err="1" smtClean="0">
              <a:latin typeface="Calibri" panose="020F0502020204030204" pitchFamily="34" charset="0"/>
            </a:rPr>
            <a:t>Government</a:t>
          </a:r>
          <a:endParaRPr lang="it-IT" sz="1500" b="1" i="0" kern="1200" dirty="0">
            <a:latin typeface="Calibri" panose="020F0502020204030204" pitchFamily="34" charset="0"/>
          </a:endParaRPr>
        </a:p>
      </dsp:txBody>
      <dsp:txXfrm>
        <a:off x="324985" y="171176"/>
        <a:ext cx="2266036" cy="424720"/>
      </dsp:txXfrm>
    </dsp:sp>
  </dsp:spTree>
</dsp:drawing>
</file>

<file path=ppt/diagrams/drawing5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12625" y="171176"/>
          <a:ext cx="424720" cy="42472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24985" y="171176"/>
          <a:ext cx="2266036" cy="424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i="0" kern="1200" dirty="0" smtClean="0">
              <a:latin typeface="Calibri" panose="020F0502020204030204" pitchFamily="34" charset="0"/>
            </a:rPr>
            <a:t>Iniziative pilote di scambio transnazionale</a:t>
          </a:r>
          <a:endParaRPr lang="it-IT" sz="1500" b="1" i="0" kern="1200" dirty="0">
            <a:latin typeface="Calibri" panose="020F0502020204030204" pitchFamily="34" charset="0"/>
          </a:endParaRPr>
        </a:p>
      </dsp:txBody>
      <dsp:txXfrm>
        <a:off x="324985" y="171176"/>
        <a:ext cx="2266036" cy="424720"/>
      </dsp:txXfrm>
    </dsp:sp>
  </dsp:spTree>
</dsp:drawing>
</file>

<file path=ppt/diagrams/drawing5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40DB6F-53FC-4451-8412-D98A1010BCCC}">
      <dsp:nvSpPr>
        <dsp:cNvPr id="0" name=""/>
        <dsp:cNvSpPr/>
      </dsp:nvSpPr>
      <dsp:spPr>
        <a:xfrm>
          <a:off x="0" y="267"/>
          <a:ext cx="8568952" cy="369064"/>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it-IT" sz="1800" b="1" kern="1200" dirty="0" smtClean="0"/>
            <a:t>Delimitazione Perimetro d’Ambito </a:t>
          </a:r>
          <a:endParaRPr lang="it-IT" sz="1800" b="1" kern="1200" dirty="0"/>
        </a:p>
      </dsp:txBody>
      <dsp:txXfrm>
        <a:off x="18016" y="18283"/>
        <a:ext cx="8532920" cy="33303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C3370D-7B6A-4F3C-8C78-C38DF1D2FA31}">
      <dsp:nvSpPr>
        <dsp:cNvPr id="0" name=""/>
        <dsp:cNvSpPr/>
      </dsp:nvSpPr>
      <dsp:spPr>
        <a:xfrm rot="5400000">
          <a:off x="4084293" y="-577348"/>
          <a:ext cx="3974841" cy="5714554"/>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85750" lvl="1" indent="-285750" algn="l" defTabSz="1600200">
            <a:lnSpc>
              <a:spcPct val="90000"/>
            </a:lnSpc>
            <a:spcBef>
              <a:spcPct val="0"/>
            </a:spcBef>
            <a:spcAft>
              <a:spcPct val="15000"/>
            </a:spcAft>
            <a:buChar char="••"/>
          </a:pPr>
          <a:r>
            <a:rPr lang="it-IT" sz="3600" b="0" kern="1200" dirty="0" smtClean="0">
              <a:solidFill>
                <a:schemeClr val="accent1"/>
              </a:solidFill>
            </a:rPr>
            <a:t>Avere il quadro chiaro dove inserire il proprio contributo</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Definire le modalità per l’elaborazione e/o l’invio del contributo</a:t>
          </a:r>
          <a:endParaRPr lang="it-IT" sz="3600" b="0" kern="1200" dirty="0">
            <a:solidFill>
              <a:schemeClr val="accent1"/>
            </a:solidFill>
          </a:endParaRPr>
        </a:p>
      </dsp:txBody>
      <dsp:txXfrm rot="-5400000">
        <a:off x="3214437" y="486544"/>
        <a:ext cx="5520518" cy="3586769"/>
      </dsp:txXfrm>
    </dsp:sp>
    <dsp:sp modelId="{4B75031E-EAE2-44AE-A204-79AAE3CD8BF2}">
      <dsp:nvSpPr>
        <dsp:cNvPr id="0" name=""/>
        <dsp:cNvSpPr/>
      </dsp:nvSpPr>
      <dsp:spPr>
        <a:xfrm>
          <a:off x="0" y="0"/>
          <a:ext cx="3214437" cy="4968552"/>
        </a:xfrm>
        <a:prstGeom prst="roundRect">
          <a:avLst/>
        </a:prstGeom>
        <a:gradFill rotWithShape="0">
          <a:gsLst>
            <a:gs pos="0">
              <a:schemeClr val="accent2">
                <a:alpha val="90000"/>
                <a:hueOff val="0"/>
                <a:satOff val="0"/>
                <a:lumOff val="0"/>
                <a:alphaOff val="0"/>
                <a:shade val="51000"/>
                <a:satMod val="130000"/>
              </a:schemeClr>
            </a:gs>
            <a:gs pos="80000">
              <a:schemeClr val="accent2">
                <a:alpha val="90000"/>
                <a:hueOff val="0"/>
                <a:satOff val="0"/>
                <a:lumOff val="0"/>
                <a:alphaOff val="0"/>
                <a:shade val="93000"/>
                <a:satMod val="130000"/>
              </a:schemeClr>
            </a:gs>
            <a:gs pos="100000">
              <a:schemeClr val="accent2">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7640" tIns="83820" rIns="167640" bIns="83820" numCol="1" spcCol="1270" anchor="ctr" anchorCtr="0">
          <a:noAutofit/>
        </a:bodyPr>
        <a:lstStyle/>
        <a:p>
          <a:pPr lvl="0" algn="ctr" defTabSz="1955800">
            <a:lnSpc>
              <a:spcPct val="90000"/>
            </a:lnSpc>
            <a:spcBef>
              <a:spcPct val="0"/>
            </a:spcBef>
            <a:spcAft>
              <a:spcPct val="35000"/>
            </a:spcAft>
          </a:pPr>
          <a:r>
            <a:rPr lang="it-IT" sz="4400" b="1" kern="1200" dirty="0" smtClean="0"/>
            <a:t>Avvio tavolo</a:t>
          </a:r>
        </a:p>
        <a:p>
          <a:pPr lvl="0" algn="ctr" defTabSz="1955800">
            <a:lnSpc>
              <a:spcPct val="90000"/>
            </a:lnSpc>
            <a:spcBef>
              <a:spcPct val="0"/>
            </a:spcBef>
            <a:spcAft>
              <a:spcPct val="35000"/>
            </a:spcAft>
          </a:pPr>
          <a:r>
            <a:rPr lang="it-IT" sz="4400" b="1" kern="1200" dirty="0" smtClean="0"/>
            <a:t>8 maggio 2014</a:t>
          </a:r>
          <a:endParaRPr lang="it-IT" sz="4400" b="1" kern="1200" dirty="0"/>
        </a:p>
      </dsp:txBody>
      <dsp:txXfrm>
        <a:off x="156916" y="156916"/>
        <a:ext cx="2900605" cy="4654720"/>
      </dsp:txXfrm>
    </dsp:sp>
  </dsp:spTree>
</dsp:drawing>
</file>

<file path=ppt/diagrams/drawing6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B52DA3-7BC3-404E-B913-F8E7BD5C05EF}">
      <dsp:nvSpPr>
        <dsp:cNvPr id="0" name=""/>
        <dsp:cNvSpPr/>
      </dsp:nvSpPr>
      <dsp:spPr>
        <a:xfrm>
          <a:off x="0" y="696609"/>
          <a:ext cx="4015961" cy="0"/>
        </a:xfrm>
        <a:prstGeom prst="line">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E9F308B-6EDB-40F9-9BA4-C2C1166CF298}">
      <dsp:nvSpPr>
        <dsp:cNvPr id="0" name=""/>
        <dsp:cNvSpPr/>
      </dsp:nvSpPr>
      <dsp:spPr>
        <a:xfrm>
          <a:off x="0" y="696609"/>
          <a:ext cx="4015961" cy="12655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just" defTabSz="533400" rtl="0">
            <a:lnSpc>
              <a:spcPct val="90000"/>
            </a:lnSpc>
            <a:spcBef>
              <a:spcPct val="0"/>
            </a:spcBef>
            <a:spcAft>
              <a:spcPct val="35000"/>
            </a:spcAft>
          </a:pPr>
          <a:r>
            <a:rPr lang="it-IT" sz="1200" b="1" kern="1200" dirty="0" smtClean="0"/>
            <a:t>In Italia e in Sicilia -in modo particolare - tale ottica integrata diventa significativa (i) per la possibilità di valorizzare e rendere fruibile il consistente patrimonio storico-artistico-naturale esistente e (ii) per esplorare attraverso le nuove tecnologie digitali nuovi target di pubblico, nonché segmenti e potenzialità innovative da approfondire.</a:t>
          </a:r>
          <a:endParaRPr lang="it-IT" sz="1200" kern="1200" dirty="0"/>
        </a:p>
      </dsp:txBody>
      <dsp:txXfrm>
        <a:off x="0" y="696609"/>
        <a:ext cx="4015961" cy="1265574"/>
      </dsp:txXfrm>
    </dsp:sp>
    <dsp:sp modelId="{EFF713C7-C8C9-441E-9423-086E996EFF71}">
      <dsp:nvSpPr>
        <dsp:cNvPr id="0" name=""/>
        <dsp:cNvSpPr/>
      </dsp:nvSpPr>
      <dsp:spPr>
        <a:xfrm>
          <a:off x="0" y="1962184"/>
          <a:ext cx="4015961" cy="0"/>
        </a:xfrm>
        <a:prstGeom prst="line">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4724403-B044-4AF9-9668-914B3E55C3CF}">
      <dsp:nvSpPr>
        <dsp:cNvPr id="0" name=""/>
        <dsp:cNvSpPr/>
      </dsp:nvSpPr>
      <dsp:spPr>
        <a:xfrm>
          <a:off x="0" y="1962184"/>
          <a:ext cx="4015961" cy="6498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just" defTabSz="533400" rtl="0">
            <a:lnSpc>
              <a:spcPct val="90000"/>
            </a:lnSpc>
            <a:spcBef>
              <a:spcPct val="0"/>
            </a:spcBef>
            <a:spcAft>
              <a:spcPct val="35000"/>
            </a:spcAft>
          </a:pPr>
          <a:r>
            <a:rPr lang="it-IT" sz="1200" b="1" kern="1200" dirty="0" smtClean="0"/>
            <a:t>In Italia le definizioni di ICC più recenti e richiamate sono quelle fornite dal Libro Bianco sulla creatività del 2009 e dal successivo </a:t>
          </a:r>
          <a:r>
            <a:rPr lang="it-IT" sz="1200" b="1" kern="1200" dirty="0" smtClean="0">
              <a:solidFill>
                <a:srgbClr val="C00000"/>
              </a:solidFill>
            </a:rPr>
            <a:t>studio Symbola – UNIONCAMERE del 2011.</a:t>
          </a:r>
          <a:r>
            <a:rPr lang="it-IT" sz="1200" kern="1200" dirty="0" smtClean="0">
              <a:solidFill>
                <a:srgbClr val="C00000"/>
              </a:solidFill>
            </a:rPr>
            <a:t> </a:t>
          </a:r>
          <a:endParaRPr lang="it-IT" sz="1200" kern="1200" dirty="0">
            <a:solidFill>
              <a:srgbClr val="C00000"/>
            </a:solidFill>
          </a:endParaRPr>
        </a:p>
      </dsp:txBody>
      <dsp:txXfrm>
        <a:off x="0" y="1962184"/>
        <a:ext cx="4015961" cy="649860"/>
      </dsp:txXfrm>
    </dsp:sp>
    <dsp:sp modelId="{DA882F34-7F49-4C32-81A5-F1384007D00F}">
      <dsp:nvSpPr>
        <dsp:cNvPr id="0" name=""/>
        <dsp:cNvSpPr/>
      </dsp:nvSpPr>
      <dsp:spPr>
        <a:xfrm>
          <a:off x="0" y="2612044"/>
          <a:ext cx="4015961" cy="0"/>
        </a:xfrm>
        <a:prstGeom prst="line">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728CA95-41C4-4332-87BF-F2219A2E8845}">
      <dsp:nvSpPr>
        <dsp:cNvPr id="0" name=""/>
        <dsp:cNvSpPr/>
      </dsp:nvSpPr>
      <dsp:spPr>
        <a:xfrm>
          <a:off x="0" y="2612044"/>
          <a:ext cx="4015961" cy="13480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just" defTabSz="533400" rtl="0">
            <a:lnSpc>
              <a:spcPct val="90000"/>
            </a:lnSpc>
            <a:spcBef>
              <a:spcPct val="0"/>
            </a:spcBef>
            <a:spcAft>
              <a:spcPct val="35000"/>
            </a:spcAft>
          </a:pPr>
          <a:r>
            <a:rPr lang="it-IT" sz="1200" b="1" kern="1200" dirty="0" smtClean="0"/>
            <a:t>Le industrie culturali’ sono quelle che producono e distribuiscono beni o servizi che, quando vengono concepiti, sono considerati possedere un carattere, un uso o uno scopo specifici che incorporano o trasmettono espressioni culturali, quale che sia il loro valore commerciale. Oltre ai settori tradizionali delle arti (spettacolo dal vivo, arti visive, patrimonio culturale – incluso il settore pubblico), questi beni e servizi comprendono anche film, Dvd e video, televisione e radio e videogiochi etc.</a:t>
          </a:r>
          <a:endParaRPr lang="it-IT" sz="1200" b="1" kern="1200" dirty="0"/>
        </a:p>
      </dsp:txBody>
      <dsp:txXfrm>
        <a:off x="0" y="2612044"/>
        <a:ext cx="4015961" cy="1348057"/>
      </dsp:txXfrm>
    </dsp:sp>
  </dsp:spTree>
</dsp:drawing>
</file>

<file path=ppt/diagrams/drawing6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86960"/>
          <a:ext cx="2520280" cy="3528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80319"/>
          <a:ext cx="1764196" cy="41328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1. Sistema produttivo</a:t>
          </a:r>
          <a:endParaRPr lang="it-IT" sz="1400" kern="1200" dirty="0">
            <a:effectLst>
              <a:outerShdw blurRad="38100" dist="38100" dir="2700000" algn="tl">
                <a:srgbClr val="000000">
                  <a:alpha val="43137"/>
                </a:srgbClr>
              </a:outerShdw>
            </a:effectLst>
          </a:endParaRPr>
        </a:p>
      </dsp:txBody>
      <dsp:txXfrm>
        <a:off x="146189" y="100494"/>
        <a:ext cx="1723846" cy="372930"/>
      </dsp:txXfrm>
    </dsp:sp>
  </dsp:spTree>
</dsp:drawing>
</file>

<file path=ppt/diagrams/drawing6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35C5E2-5E25-4F86-8C19-90A32DE12900}">
      <dsp:nvSpPr>
        <dsp:cNvPr id="0" name=""/>
        <dsp:cNvSpPr/>
      </dsp:nvSpPr>
      <dsp:spPr>
        <a:xfrm>
          <a:off x="0" y="1797200"/>
          <a:ext cx="1358155" cy="8546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35560" rIns="99568" bIns="35560" numCol="1" spcCol="1270" anchor="ctr" anchorCtr="0">
          <a:noAutofit/>
        </a:bodyPr>
        <a:lstStyle/>
        <a:p>
          <a:pPr lvl="0" algn="ctr" defTabSz="622300" rtl="0">
            <a:lnSpc>
              <a:spcPct val="90000"/>
            </a:lnSpc>
            <a:spcBef>
              <a:spcPct val="0"/>
            </a:spcBef>
            <a:spcAft>
              <a:spcPct val="35000"/>
            </a:spcAft>
          </a:pPr>
          <a:r>
            <a:rPr lang="it-IT" sz="1400" b="1" kern="1200" dirty="0" smtClean="0"/>
            <a:t>Il potenziale turistico italiano</a:t>
          </a:r>
          <a:endParaRPr lang="it-IT" sz="1400" b="1" kern="1200" dirty="0"/>
        </a:p>
      </dsp:txBody>
      <dsp:txXfrm>
        <a:off x="0" y="1797200"/>
        <a:ext cx="1358155" cy="854688"/>
      </dsp:txXfrm>
    </dsp:sp>
    <dsp:sp modelId="{379B0A50-5782-4FE7-BA42-0F6C7D5ABCE7}">
      <dsp:nvSpPr>
        <dsp:cNvPr id="0" name=""/>
        <dsp:cNvSpPr/>
      </dsp:nvSpPr>
      <dsp:spPr>
        <a:xfrm>
          <a:off x="1143832" y="9656"/>
          <a:ext cx="564111" cy="4468856"/>
        </a:xfrm>
        <a:prstGeom prst="leftBrace">
          <a:avLst>
            <a:gd name="adj1" fmla="val 35000"/>
            <a:gd name="adj2" fmla="val 50000"/>
          </a:avLst>
        </a:pr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Tree>
</dsp:drawing>
</file>

<file path=ppt/diagrams/drawing6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05214C-C233-4AAE-B814-6AD35E8BB61C}">
      <dsp:nvSpPr>
        <dsp:cNvPr id="0" name=""/>
        <dsp:cNvSpPr/>
      </dsp:nvSpPr>
      <dsp:spPr>
        <a:xfrm>
          <a:off x="0" y="9731"/>
          <a:ext cx="6526758" cy="701802"/>
        </a:xfrm>
        <a:prstGeom prst="round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it-IT" sz="1200" b="1" kern="1200" dirty="0" smtClean="0">
              <a:solidFill>
                <a:schemeClr val="bg2">
                  <a:lumMod val="10000"/>
                </a:schemeClr>
              </a:solidFill>
              <a:effectLst/>
            </a:rPr>
            <a:t>Il turismo internazionale continuerà a crescere anche nel prossimo ventennio. Rispetto ai circa 900 milioni di passeggeri del 2010, nel 2030 è atteso un raddoppio che porterà a 1,8 miliardi annui di passeggeri (World Tourism Organization, 2011)</a:t>
          </a:r>
          <a:endParaRPr lang="it-IT" sz="1200" b="1" kern="1200" dirty="0">
            <a:solidFill>
              <a:schemeClr val="bg2">
                <a:lumMod val="10000"/>
              </a:schemeClr>
            </a:solidFill>
            <a:effectLst/>
          </a:endParaRPr>
        </a:p>
      </dsp:txBody>
      <dsp:txXfrm>
        <a:off x="34259" y="43990"/>
        <a:ext cx="6458240" cy="633284"/>
      </dsp:txXfrm>
    </dsp:sp>
    <dsp:sp modelId="{F6F23AA0-DA68-4A08-B47A-3D19112A1993}">
      <dsp:nvSpPr>
        <dsp:cNvPr id="0" name=""/>
        <dsp:cNvSpPr/>
      </dsp:nvSpPr>
      <dsp:spPr>
        <a:xfrm>
          <a:off x="0" y="815677"/>
          <a:ext cx="6526758" cy="905208"/>
        </a:xfrm>
        <a:prstGeom prst="roundRect">
          <a:avLst/>
        </a:prstGeom>
        <a:gradFill rotWithShape="0">
          <a:gsLst>
            <a:gs pos="0">
              <a:schemeClr val="accent5">
                <a:hueOff val="-2483469"/>
                <a:satOff val="9953"/>
                <a:lumOff val="2157"/>
                <a:alphaOff val="0"/>
                <a:shade val="51000"/>
                <a:satMod val="130000"/>
              </a:schemeClr>
            </a:gs>
            <a:gs pos="80000">
              <a:schemeClr val="accent5">
                <a:hueOff val="-2483469"/>
                <a:satOff val="9953"/>
                <a:lumOff val="2157"/>
                <a:alphaOff val="0"/>
                <a:shade val="93000"/>
                <a:satMod val="130000"/>
              </a:schemeClr>
            </a:gs>
            <a:gs pos="100000">
              <a:schemeClr val="accent5">
                <a:hueOff val="-2483469"/>
                <a:satOff val="9953"/>
                <a:lumOff val="2157"/>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it-IT" sz="1200" b="1" kern="1200" dirty="0" smtClean="0">
              <a:solidFill>
                <a:schemeClr val="bg2">
                  <a:lumMod val="10000"/>
                </a:schemeClr>
              </a:solidFill>
              <a:effectLst/>
            </a:rPr>
            <a:t>L’Europa vedrà in crescere i suoi flussi turistici (forbice compresa tra il 2 e 3%) meno che nell’area asiatica e del Pacifico (UNWTO) . L'aumento della competizione tra località, facilitata dalla diminuzione dei costi di trasporto, ha fatto emergere nuovi mercati e nuove nicchie di mercato. Il peso dei principali mercati dei paesi avanzati è diminuito. É aumentato il peso dei mercati extra-europei più lontani. Il prodotto turistico si è diversificato</a:t>
          </a:r>
          <a:endParaRPr lang="it-IT" sz="1200" b="1" kern="1200" dirty="0">
            <a:solidFill>
              <a:schemeClr val="bg2">
                <a:lumMod val="10000"/>
              </a:schemeClr>
            </a:solidFill>
            <a:effectLst/>
          </a:endParaRPr>
        </a:p>
      </dsp:txBody>
      <dsp:txXfrm>
        <a:off x="44189" y="859866"/>
        <a:ext cx="6438380" cy="816830"/>
      </dsp:txXfrm>
    </dsp:sp>
    <dsp:sp modelId="{3711621F-63AC-4E08-B3C3-54E96E74B109}">
      <dsp:nvSpPr>
        <dsp:cNvPr id="0" name=""/>
        <dsp:cNvSpPr/>
      </dsp:nvSpPr>
      <dsp:spPr>
        <a:xfrm>
          <a:off x="0" y="1786143"/>
          <a:ext cx="6526758" cy="818293"/>
        </a:xfrm>
        <a:prstGeom prst="roundRect">
          <a:avLst/>
        </a:prstGeom>
        <a:gradFill rotWithShape="0">
          <a:gsLst>
            <a:gs pos="0">
              <a:schemeClr val="accent5">
                <a:hueOff val="-4966938"/>
                <a:satOff val="19906"/>
                <a:lumOff val="4314"/>
                <a:alphaOff val="0"/>
                <a:shade val="51000"/>
                <a:satMod val="130000"/>
              </a:schemeClr>
            </a:gs>
            <a:gs pos="80000">
              <a:schemeClr val="accent5">
                <a:hueOff val="-4966938"/>
                <a:satOff val="19906"/>
                <a:lumOff val="4314"/>
                <a:alphaOff val="0"/>
                <a:shade val="93000"/>
                <a:satMod val="130000"/>
              </a:schemeClr>
            </a:gs>
            <a:gs pos="100000">
              <a:schemeClr val="accent5">
                <a:hueOff val="-4966938"/>
                <a:satOff val="19906"/>
                <a:lumOff val="4314"/>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it-IT" sz="1200" b="1" kern="1200" dirty="0" smtClean="0">
              <a:solidFill>
                <a:schemeClr val="bg2">
                  <a:lumMod val="10000"/>
                </a:schemeClr>
              </a:solidFill>
              <a:effectLst/>
            </a:rPr>
            <a:t>Il potenziale di crescita per l’Italia è comunque alto: Nel 2010 sono stati registrati circa 900 milioni di viaggiatori internazionali a livello globale, di questi circa 400 milioni hanno soggiornato nel mercato di riferimento dell’Italia (Europa Occidentale e Mediterraneo)</a:t>
          </a:r>
          <a:endParaRPr lang="it-IT" sz="1200" b="1" kern="1200" dirty="0">
            <a:solidFill>
              <a:schemeClr val="bg2">
                <a:lumMod val="10000"/>
              </a:schemeClr>
            </a:solidFill>
            <a:effectLst/>
          </a:endParaRPr>
        </a:p>
      </dsp:txBody>
      <dsp:txXfrm>
        <a:off x="39946" y="1826089"/>
        <a:ext cx="6446866" cy="738401"/>
      </dsp:txXfrm>
    </dsp:sp>
    <dsp:sp modelId="{150EC898-5EE1-4BD3-871B-B52671B26D23}">
      <dsp:nvSpPr>
        <dsp:cNvPr id="0" name=""/>
        <dsp:cNvSpPr/>
      </dsp:nvSpPr>
      <dsp:spPr>
        <a:xfrm>
          <a:off x="0" y="2765002"/>
          <a:ext cx="6526758" cy="575431"/>
        </a:xfrm>
        <a:prstGeom prst="roundRect">
          <a:avLst/>
        </a:prstGeom>
        <a:gradFill rotWithShape="0">
          <a:gsLst>
            <a:gs pos="0">
              <a:schemeClr val="accent5">
                <a:hueOff val="-7450407"/>
                <a:satOff val="29858"/>
                <a:lumOff val="6471"/>
                <a:alphaOff val="0"/>
                <a:shade val="51000"/>
                <a:satMod val="130000"/>
              </a:schemeClr>
            </a:gs>
            <a:gs pos="80000">
              <a:schemeClr val="accent5">
                <a:hueOff val="-7450407"/>
                <a:satOff val="29858"/>
                <a:lumOff val="6471"/>
                <a:alphaOff val="0"/>
                <a:shade val="93000"/>
                <a:satMod val="130000"/>
              </a:schemeClr>
            </a:gs>
            <a:gs pos="100000">
              <a:schemeClr val="accent5">
                <a:hueOff val="-7450407"/>
                <a:satOff val="29858"/>
                <a:lumOff val="6471"/>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it-IT" sz="1200" b="1" kern="1200" dirty="0" smtClean="0">
              <a:solidFill>
                <a:schemeClr val="bg2">
                  <a:lumMod val="10000"/>
                </a:schemeClr>
              </a:solidFill>
              <a:effectLst/>
            </a:rPr>
            <a:t>Per il periodo 2010-2020 la crescita attesa del turismo internazionale nel mercato di riferimento dell’Italia è del 2,9% annuo in termini di numero di viaggiatori e del 4,8% annuo in termini di spesa.</a:t>
          </a:r>
          <a:endParaRPr lang="it-IT" sz="1200" b="1" kern="1200" dirty="0">
            <a:solidFill>
              <a:schemeClr val="bg2">
                <a:lumMod val="10000"/>
              </a:schemeClr>
            </a:solidFill>
            <a:effectLst/>
          </a:endParaRPr>
        </a:p>
      </dsp:txBody>
      <dsp:txXfrm>
        <a:off x="28090" y="2793092"/>
        <a:ext cx="6470578" cy="519251"/>
      </dsp:txXfrm>
    </dsp:sp>
    <dsp:sp modelId="{BA940351-0661-409A-89A2-EFCEFD065A85}">
      <dsp:nvSpPr>
        <dsp:cNvPr id="0" name=""/>
        <dsp:cNvSpPr/>
      </dsp:nvSpPr>
      <dsp:spPr>
        <a:xfrm>
          <a:off x="0" y="3482837"/>
          <a:ext cx="6526758" cy="928042"/>
        </a:xfrm>
        <a:prstGeom prst="roundRect">
          <a:avLst/>
        </a:prstGeom>
        <a:gradFill rotWithShape="0">
          <a:gsLst>
            <a:gs pos="0">
              <a:schemeClr val="accent5">
                <a:hueOff val="-9933876"/>
                <a:satOff val="39811"/>
                <a:lumOff val="8628"/>
                <a:alphaOff val="0"/>
                <a:shade val="51000"/>
                <a:satMod val="130000"/>
              </a:schemeClr>
            </a:gs>
            <a:gs pos="80000">
              <a:schemeClr val="accent5">
                <a:hueOff val="-9933876"/>
                <a:satOff val="39811"/>
                <a:lumOff val="8628"/>
                <a:alphaOff val="0"/>
                <a:shade val="93000"/>
                <a:satMod val="130000"/>
              </a:schemeClr>
            </a:gs>
            <a:gs pos="100000">
              <a:schemeClr val="accent5">
                <a:hueOff val="-9933876"/>
                <a:satOff val="39811"/>
                <a:lumOff val="862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5720" tIns="45720" rIns="45720" bIns="45720" numCol="1" spcCol="1270" anchor="ctr" anchorCtr="0">
          <a:noAutofit/>
        </a:bodyPr>
        <a:lstStyle/>
        <a:p>
          <a:pPr lvl="0" algn="l" defTabSz="533400" rtl="0">
            <a:lnSpc>
              <a:spcPct val="90000"/>
            </a:lnSpc>
            <a:spcBef>
              <a:spcPct val="0"/>
            </a:spcBef>
            <a:spcAft>
              <a:spcPct val="35000"/>
            </a:spcAft>
          </a:pPr>
          <a:r>
            <a:rPr lang="it-IT" sz="1200" b="1" kern="1200" dirty="0" smtClean="0">
              <a:solidFill>
                <a:schemeClr val="bg2">
                  <a:lumMod val="10000"/>
                </a:schemeClr>
              </a:solidFill>
              <a:effectLst/>
            </a:rPr>
            <a:t>I viaggiatori internazionali sono fondamentali per il settore turistico italiano in quanto la domanda interna è destinata a crescere a tassi molto contenuti. Si tratta di un trend già in atto da tempo: nel periodo 2005-2010 le notti acquistate in Italia da viaggiatori italiani sono cresciute dello 0,3% annuo, mentre quelle acquistate da viaggiatori internazionali sono cresciute del 2,2% (Istat, 2012).</a:t>
          </a:r>
          <a:endParaRPr lang="it-IT" sz="1200" b="1" kern="1200" dirty="0">
            <a:solidFill>
              <a:schemeClr val="bg2">
                <a:lumMod val="10000"/>
              </a:schemeClr>
            </a:solidFill>
            <a:effectLst/>
          </a:endParaRPr>
        </a:p>
      </dsp:txBody>
      <dsp:txXfrm>
        <a:off x="45303" y="3528140"/>
        <a:ext cx="6436152" cy="837436"/>
      </dsp:txXfrm>
    </dsp:sp>
  </dsp:spTree>
</dsp:drawing>
</file>

<file path=ppt/diagrams/drawing6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Le tendenze internazionali e nazionali</a:t>
          </a:r>
          <a:endParaRPr lang="it-IT" sz="1200" b="1" kern="1200" dirty="0"/>
        </a:p>
      </dsp:txBody>
      <dsp:txXfrm>
        <a:off x="605078" y="160888"/>
        <a:ext cx="1825125" cy="542320"/>
      </dsp:txXfrm>
    </dsp:sp>
  </dsp:spTree>
</dsp:drawing>
</file>

<file path=ppt/diagrams/drawing6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C256FC-9A38-4083-BFE1-F68DE52602FB}">
      <dsp:nvSpPr>
        <dsp:cNvPr id="0" name=""/>
        <dsp:cNvSpPr/>
      </dsp:nvSpPr>
      <dsp:spPr>
        <a:xfrm>
          <a:off x="0" y="0"/>
          <a:ext cx="6048672" cy="720079"/>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just" defTabSz="711200" rtl="0">
            <a:lnSpc>
              <a:spcPct val="90000"/>
            </a:lnSpc>
            <a:spcBef>
              <a:spcPct val="0"/>
            </a:spcBef>
            <a:spcAft>
              <a:spcPct val="35000"/>
            </a:spcAft>
          </a:pPr>
          <a:r>
            <a:rPr lang="it-IT" sz="1600" b="1" kern="1200" dirty="0" smtClean="0"/>
            <a:t>La Sicilia può sfruttare la crescita del turismo internazionale in quanto dispone di punti di forza e di vantaggi competitivi:</a:t>
          </a:r>
          <a:endParaRPr lang="it-IT" sz="1600" b="1" kern="1200" dirty="0"/>
        </a:p>
      </dsp:txBody>
      <dsp:txXfrm>
        <a:off x="0" y="0"/>
        <a:ext cx="6048672" cy="720079"/>
      </dsp:txXfrm>
    </dsp:sp>
  </dsp:spTree>
</dsp:drawing>
</file>

<file path=ppt/diagrams/drawing6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86960"/>
          <a:ext cx="2520280" cy="3528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80319"/>
          <a:ext cx="1764196" cy="41328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1. Sistema produttivo</a:t>
          </a:r>
          <a:endParaRPr lang="it-IT" sz="1400" kern="1200" dirty="0">
            <a:effectLst>
              <a:outerShdw blurRad="38100" dist="38100" dir="2700000" algn="tl">
                <a:srgbClr val="000000">
                  <a:alpha val="43137"/>
                </a:srgbClr>
              </a:outerShdw>
            </a:effectLst>
          </a:endParaRPr>
        </a:p>
      </dsp:txBody>
      <dsp:txXfrm>
        <a:off x="146189" y="100494"/>
        <a:ext cx="1723846" cy="372930"/>
      </dsp:txXfrm>
    </dsp:sp>
  </dsp:spTree>
</dsp:drawing>
</file>

<file path=ppt/diagrams/drawing6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La posizione competitiva della Sicilia</a:t>
          </a:r>
          <a:endParaRPr lang="it-IT" sz="1200" b="1" kern="1200" dirty="0"/>
        </a:p>
      </dsp:txBody>
      <dsp:txXfrm>
        <a:off x="605078" y="160888"/>
        <a:ext cx="1825125" cy="542320"/>
      </dsp:txXfrm>
    </dsp:sp>
  </dsp:spTree>
</dsp:drawing>
</file>

<file path=ppt/diagrams/drawing6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4EEFDD-E54F-4207-BC18-4F04CD1FA012}">
      <dsp:nvSpPr>
        <dsp:cNvPr id="0" name=""/>
        <dsp:cNvSpPr/>
      </dsp:nvSpPr>
      <dsp:spPr>
        <a:xfrm>
          <a:off x="0" y="1100"/>
          <a:ext cx="7056784" cy="0"/>
        </a:xfrm>
        <a:prstGeom prst="line">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608172C-6B71-4C38-B713-A3C63C66FF45}">
      <dsp:nvSpPr>
        <dsp:cNvPr id="0" name=""/>
        <dsp:cNvSpPr/>
      </dsp:nvSpPr>
      <dsp:spPr>
        <a:xfrm>
          <a:off x="0" y="0"/>
          <a:ext cx="7049903" cy="23085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rtl="0">
            <a:lnSpc>
              <a:spcPct val="90000"/>
            </a:lnSpc>
            <a:spcBef>
              <a:spcPct val="0"/>
            </a:spcBef>
            <a:spcAft>
              <a:spcPct val="35000"/>
            </a:spcAft>
          </a:pPr>
          <a:r>
            <a:rPr lang="it-IT" sz="1800" kern="1200" dirty="0" smtClean="0"/>
            <a:t>Un vantaggio competitivo forte, incrementabile e durevole è dato dal</a:t>
          </a:r>
          <a:r>
            <a:rPr lang="it-IT" sz="1800" b="1" kern="1200" dirty="0" smtClean="0"/>
            <a:t> vasto e unico patrimonio storico-culturale, riconosciuto in tutto il mondo </a:t>
          </a:r>
          <a:r>
            <a:rPr lang="it-IT" sz="1800" b="0" kern="1200" dirty="0" smtClean="0"/>
            <a:t>(</a:t>
          </a:r>
          <a:r>
            <a:rPr lang="it-IT" sz="1800" kern="1200" dirty="0" smtClean="0"/>
            <a:t>111 strutture di cui : 62 zone archeologiche; 19 musei archeologici; 21 musei; 9 antiquaria). In Sicilia si concentra oltre il 9% del patrimonio culturale nazionale, percentuale che sale al 30% se si considerano solo i beni archeologici. Tale patrimonio origina un flusso rilevante di visitatori stranieri </a:t>
          </a:r>
          <a:r>
            <a:rPr lang="it-IT" sz="1800" b="1" kern="1200" dirty="0" smtClean="0"/>
            <a:t>(37,3% arrivi e 39,1% presenze)</a:t>
          </a:r>
          <a:r>
            <a:rPr lang="it-IT" sz="1800" kern="1200" dirty="0" smtClean="0"/>
            <a:t> nelle località d'interesse storico e artistico della regione, principalmente in provenienza da Francia, Germania, USA, Regno Unito, Spagna </a:t>
          </a:r>
          <a:endParaRPr lang="it-IT" sz="1800" kern="1200" dirty="0"/>
        </a:p>
      </dsp:txBody>
      <dsp:txXfrm>
        <a:off x="0" y="0"/>
        <a:ext cx="7049903" cy="2308573"/>
      </dsp:txXfrm>
    </dsp:sp>
    <dsp:sp modelId="{404EE018-A5B0-4470-B596-11D4481052E8}">
      <dsp:nvSpPr>
        <dsp:cNvPr id="0" name=""/>
        <dsp:cNvSpPr/>
      </dsp:nvSpPr>
      <dsp:spPr>
        <a:xfrm>
          <a:off x="0" y="2309674"/>
          <a:ext cx="7056784" cy="0"/>
        </a:xfrm>
        <a:prstGeom prst="line">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8B2F38C-88C3-4EED-803D-19297A7D3D07}">
      <dsp:nvSpPr>
        <dsp:cNvPr id="0" name=""/>
        <dsp:cNvSpPr/>
      </dsp:nvSpPr>
      <dsp:spPr>
        <a:xfrm>
          <a:off x="0" y="2084966"/>
          <a:ext cx="7056784" cy="654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050" tIns="19050" rIns="19050" bIns="19050" numCol="1" spcCol="1270" anchor="t" anchorCtr="0">
          <a:noAutofit/>
        </a:bodyPr>
        <a:lstStyle/>
        <a:p>
          <a:pPr lvl="0" algn="l" defTabSz="222250" rtl="0">
            <a:lnSpc>
              <a:spcPct val="90000"/>
            </a:lnSpc>
            <a:spcBef>
              <a:spcPct val="0"/>
            </a:spcBef>
            <a:spcAft>
              <a:spcPct val="35000"/>
            </a:spcAft>
          </a:pPr>
          <a:endParaRPr lang="it-IT" sz="500" kern="1200"/>
        </a:p>
      </dsp:txBody>
      <dsp:txXfrm>
        <a:off x="0" y="2084966"/>
        <a:ext cx="7056784" cy="65489"/>
      </dsp:txXfrm>
    </dsp:sp>
  </dsp:spTree>
</dsp:drawing>
</file>

<file path=ppt/diagrams/drawing6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C256FC-9A38-4083-BFE1-F68DE52602FB}">
      <dsp:nvSpPr>
        <dsp:cNvPr id="0" name=""/>
        <dsp:cNvSpPr/>
      </dsp:nvSpPr>
      <dsp:spPr>
        <a:xfrm>
          <a:off x="0" y="0"/>
          <a:ext cx="6048672" cy="720079"/>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just" defTabSz="711200" rtl="0">
            <a:lnSpc>
              <a:spcPct val="90000"/>
            </a:lnSpc>
            <a:spcBef>
              <a:spcPct val="0"/>
            </a:spcBef>
            <a:spcAft>
              <a:spcPct val="35000"/>
            </a:spcAft>
          </a:pPr>
          <a:r>
            <a:rPr lang="it-IT" sz="1600" b="1" kern="1200" dirty="0" smtClean="0"/>
            <a:t>La Sicilia può sfruttare la crescita del turismo internazionale in quanto dispone di punti di forza e di vantaggi competitivi:</a:t>
          </a:r>
          <a:endParaRPr lang="it-IT" sz="1600" b="1" kern="1200" dirty="0"/>
        </a:p>
      </dsp:txBody>
      <dsp:txXfrm>
        <a:off x="0" y="0"/>
        <a:ext cx="6048672" cy="72007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75031E-EAE2-44AE-A204-79AAE3CD8BF2}">
      <dsp:nvSpPr>
        <dsp:cNvPr id="0" name=""/>
        <dsp:cNvSpPr/>
      </dsp:nvSpPr>
      <dsp:spPr>
        <a:xfrm>
          <a:off x="1751" y="0"/>
          <a:ext cx="1792909" cy="4533321"/>
        </a:xfrm>
        <a:prstGeom prst="roundRect">
          <a:avLst/>
        </a:prstGeom>
        <a:gradFill rotWithShape="0">
          <a:gsLst>
            <a:gs pos="0">
              <a:schemeClr val="accent2">
                <a:alpha val="90000"/>
                <a:hueOff val="0"/>
                <a:satOff val="0"/>
                <a:lumOff val="0"/>
                <a:alphaOff val="0"/>
                <a:shade val="51000"/>
                <a:satMod val="130000"/>
              </a:schemeClr>
            </a:gs>
            <a:gs pos="80000">
              <a:schemeClr val="accent2">
                <a:alpha val="90000"/>
                <a:hueOff val="0"/>
                <a:satOff val="0"/>
                <a:lumOff val="0"/>
                <a:alphaOff val="0"/>
                <a:shade val="93000"/>
                <a:satMod val="130000"/>
              </a:schemeClr>
            </a:gs>
            <a:gs pos="100000">
              <a:schemeClr val="accent2">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it-IT" sz="2400" b="1" kern="1200" dirty="0" smtClean="0"/>
            <a:t>TAVOLI TEMATICI</a:t>
          </a:r>
          <a:endParaRPr lang="it-IT" sz="2400" b="1" kern="1200" dirty="0"/>
        </a:p>
      </dsp:txBody>
      <dsp:txXfrm>
        <a:off x="89274" y="87523"/>
        <a:ext cx="1617863" cy="4358275"/>
      </dsp:txXfrm>
    </dsp:sp>
  </dsp:spTree>
</dsp:drawing>
</file>

<file path=ppt/diagrams/drawing7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86960"/>
          <a:ext cx="2520280" cy="3528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80319"/>
          <a:ext cx="1764196" cy="41328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1. Sistema produttivo</a:t>
          </a:r>
          <a:endParaRPr lang="it-IT" sz="1400" kern="1200" dirty="0">
            <a:effectLst>
              <a:outerShdw blurRad="38100" dist="38100" dir="2700000" algn="tl">
                <a:srgbClr val="000000">
                  <a:alpha val="43137"/>
                </a:srgbClr>
              </a:outerShdw>
            </a:effectLst>
          </a:endParaRPr>
        </a:p>
      </dsp:txBody>
      <dsp:txXfrm>
        <a:off x="146189" y="100494"/>
        <a:ext cx="1723846" cy="372930"/>
      </dsp:txXfrm>
    </dsp:sp>
  </dsp:spTree>
</dsp:drawing>
</file>

<file path=ppt/diagrams/drawing7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La posizione competitiva della Sicilia</a:t>
          </a:r>
          <a:endParaRPr lang="it-IT" sz="1200" b="1" kern="1200" dirty="0"/>
        </a:p>
      </dsp:txBody>
      <dsp:txXfrm>
        <a:off x="605078" y="160888"/>
        <a:ext cx="1825125" cy="542320"/>
      </dsp:txXfrm>
    </dsp:sp>
  </dsp:spTree>
</dsp:drawing>
</file>

<file path=ppt/diagrams/drawing7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4EEFDD-E54F-4207-BC18-4F04CD1FA012}">
      <dsp:nvSpPr>
        <dsp:cNvPr id="0" name=""/>
        <dsp:cNvSpPr/>
      </dsp:nvSpPr>
      <dsp:spPr>
        <a:xfrm>
          <a:off x="0" y="1467"/>
          <a:ext cx="7238259" cy="0"/>
        </a:xfrm>
        <a:prstGeom prst="line">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608172C-6B71-4C38-B713-A3C63C66FF45}">
      <dsp:nvSpPr>
        <dsp:cNvPr id="0" name=""/>
        <dsp:cNvSpPr/>
      </dsp:nvSpPr>
      <dsp:spPr>
        <a:xfrm>
          <a:off x="0" y="0"/>
          <a:ext cx="7231201" cy="30780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just" defTabSz="622300" rtl="0">
            <a:lnSpc>
              <a:spcPct val="90000"/>
            </a:lnSpc>
            <a:spcBef>
              <a:spcPct val="0"/>
            </a:spcBef>
            <a:spcAft>
              <a:spcPct val="35000"/>
            </a:spcAft>
          </a:pPr>
          <a:r>
            <a:rPr lang="it-IT" sz="1400" b="1" kern="1200" dirty="0" smtClean="0"/>
            <a:t>a) </a:t>
          </a:r>
          <a:r>
            <a:rPr lang="it-IT" sz="1400" b="0" kern="1200" dirty="0" smtClean="0"/>
            <a:t>Presenza di un numero significativo di strutture universitarie e di ricerca (IBAM; ICB; ICPT;IPCF; ISMN del CNR) in grado sviluppare tecnologie e competenze per la tutela e la valorizzazione integrata del patrimonio culturale</a:t>
          </a:r>
        </a:p>
        <a:p>
          <a:pPr lvl="0" algn="just" defTabSz="622300">
            <a:lnSpc>
              <a:spcPct val="90000"/>
            </a:lnSpc>
            <a:spcBef>
              <a:spcPct val="0"/>
            </a:spcBef>
            <a:spcAft>
              <a:spcPct val="35000"/>
            </a:spcAft>
          </a:pPr>
          <a:r>
            <a:rPr lang="it-IT" sz="1400" b="1" kern="1200" dirty="0" smtClean="0"/>
            <a:t>b) </a:t>
          </a:r>
          <a:r>
            <a:rPr lang="it-IT" sz="1400" b="0" kern="1200" dirty="0" smtClean="0"/>
            <a:t>Attivazione del Distretto tecnologico beni Culturali (DTBC) dotato di competenze in molteplici settori scientifico- disciplinari che coprono tutto il ventaglio della filiera di tutela e valorizzazione del patrimonio</a:t>
          </a:r>
        </a:p>
        <a:p>
          <a:pPr lvl="0" algn="just" defTabSz="622300">
            <a:lnSpc>
              <a:spcPct val="90000"/>
            </a:lnSpc>
            <a:spcBef>
              <a:spcPct val="0"/>
            </a:spcBef>
            <a:spcAft>
              <a:spcPct val="35000"/>
            </a:spcAft>
          </a:pPr>
          <a:r>
            <a:rPr lang="it-IT" sz="1400" b="1" kern="1200" dirty="0" smtClean="0"/>
            <a:t>c) </a:t>
          </a:r>
          <a:r>
            <a:rPr lang="it-IT" sz="1400" b="0" kern="1200" dirty="0" smtClean="0"/>
            <a:t>Presenza di risorse umane qualificate e specializzate nei campi della cultura e del turismo (acquisire dati su laureati e figure multidisciplinari)</a:t>
          </a:r>
        </a:p>
        <a:p>
          <a:pPr lvl="0" algn="just" defTabSz="622300">
            <a:lnSpc>
              <a:spcPct val="90000"/>
            </a:lnSpc>
            <a:spcBef>
              <a:spcPct val="0"/>
            </a:spcBef>
            <a:spcAft>
              <a:spcPct val="35000"/>
            </a:spcAft>
          </a:pPr>
          <a:r>
            <a:rPr lang="it-IT" sz="1400" b="1" kern="1200" dirty="0" smtClean="0"/>
            <a:t>d) </a:t>
          </a:r>
          <a:r>
            <a:rPr lang="it-IT" sz="1400" b="0" kern="1200" dirty="0" smtClean="0"/>
            <a:t>Presenza di PMI e di nuove imprese innovative (acquisire dati su start up, spin off, PMI dei settori high tech e non</a:t>
          </a:r>
        </a:p>
        <a:p>
          <a:pPr lvl="0" algn="just" defTabSz="622300">
            <a:lnSpc>
              <a:spcPct val="90000"/>
            </a:lnSpc>
            <a:spcBef>
              <a:spcPct val="0"/>
            </a:spcBef>
            <a:spcAft>
              <a:spcPct val="35000"/>
            </a:spcAft>
          </a:pPr>
          <a:r>
            <a:rPr lang="it-IT" sz="1400" b="1" kern="1200" dirty="0" smtClean="0"/>
            <a:t>e) </a:t>
          </a:r>
          <a:r>
            <a:rPr lang="it-IT" sz="1400" b="0" kern="1200" dirty="0" smtClean="0"/>
            <a:t>Una ricettività che, rispetto alle altre regioni del Mezzogiorno, vanta il più alto numero di posti letto totali (124.0000) e presso le strutture alberghiere di 3, 4, 5 stelle e la crescita dei B&amp;B (circa 1300 pari al 26,6% del Mezzogiorno, il segmento di strutture ricettive più diffuse, dopo quelle alberghiere, in tutte le province siciliane negli ultimi 6 anni.</a:t>
          </a:r>
        </a:p>
      </dsp:txBody>
      <dsp:txXfrm>
        <a:off x="0" y="0"/>
        <a:ext cx="7231201" cy="3078097"/>
      </dsp:txXfrm>
    </dsp:sp>
    <dsp:sp modelId="{404EE018-A5B0-4470-B596-11D4481052E8}">
      <dsp:nvSpPr>
        <dsp:cNvPr id="0" name=""/>
        <dsp:cNvSpPr/>
      </dsp:nvSpPr>
      <dsp:spPr>
        <a:xfrm>
          <a:off x="0" y="3079565"/>
          <a:ext cx="7238259" cy="0"/>
        </a:xfrm>
        <a:prstGeom prst="line">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8B2F38C-88C3-4EED-803D-19297A7D3D07}">
      <dsp:nvSpPr>
        <dsp:cNvPr id="0" name=""/>
        <dsp:cNvSpPr/>
      </dsp:nvSpPr>
      <dsp:spPr>
        <a:xfrm>
          <a:off x="0" y="2779955"/>
          <a:ext cx="7238259" cy="873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050" tIns="19050" rIns="19050" bIns="19050" numCol="1" spcCol="1270" anchor="t" anchorCtr="0">
          <a:noAutofit/>
        </a:bodyPr>
        <a:lstStyle/>
        <a:p>
          <a:pPr lvl="0" algn="l" defTabSz="222250" rtl="0">
            <a:lnSpc>
              <a:spcPct val="90000"/>
            </a:lnSpc>
            <a:spcBef>
              <a:spcPct val="0"/>
            </a:spcBef>
            <a:spcAft>
              <a:spcPct val="35000"/>
            </a:spcAft>
          </a:pPr>
          <a:endParaRPr lang="it-IT" sz="500" kern="1200"/>
        </a:p>
      </dsp:txBody>
      <dsp:txXfrm>
        <a:off x="0" y="2779955"/>
        <a:ext cx="7238259" cy="87318"/>
      </dsp:txXfrm>
    </dsp:sp>
  </dsp:spTree>
</dsp:drawing>
</file>

<file path=ppt/diagrams/drawing7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B44658-E6E5-4958-8B6E-673298935A55}">
      <dsp:nvSpPr>
        <dsp:cNvPr id="0" name=""/>
        <dsp:cNvSpPr/>
      </dsp:nvSpPr>
      <dsp:spPr>
        <a:xfrm>
          <a:off x="0" y="30568"/>
          <a:ext cx="6984776" cy="769859"/>
        </a:xfrm>
        <a:prstGeom prst="round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just" defTabSz="622300" rtl="0">
            <a:lnSpc>
              <a:spcPct val="90000"/>
            </a:lnSpc>
            <a:spcBef>
              <a:spcPct val="0"/>
            </a:spcBef>
            <a:spcAft>
              <a:spcPct val="35000"/>
            </a:spcAft>
          </a:pPr>
          <a:r>
            <a:rPr lang="it-IT" sz="1400" b="1" kern="1200" dirty="0" smtClean="0"/>
            <a:t>D’altra parte la Sicilia rappresenta solo la nona regione per fatturato e l’ottava per numero di unità locali riconducibili alla filiera del turismo in una posizione nettamente distanziata da dalle posizioni occupate da regioni come Lazio e Lombardia</a:t>
          </a:r>
          <a:r>
            <a:rPr lang="it-IT" sz="1400" kern="1200" dirty="0" smtClean="0"/>
            <a:t>.</a:t>
          </a:r>
          <a:endParaRPr lang="it-IT" sz="1400" kern="1200" dirty="0"/>
        </a:p>
      </dsp:txBody>
      <dsp:txXfrm>
        <a:off x="37581" y="68149"/>
        <a:ext cx="6909614" cy="694697"/>
      </dsp:txXfrm>
    </dsp:sp>
  </dsp:spTree>
</dsp:drawing>
</file>

<file path=ppt/diagrams/drawing7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86960"/>
          <a:ext cx="2520280" cy="3528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80319"/>
          <a:ext cx="1764196" cy="41328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1. Sistema produttivo</a:t>
          </a:r>
          <a:endParaRPr lang="it-IT" sz="1400" kern="1200" dirty="0">
            <a:effectLst>
              <a:outerShdw blurRad="38100" dist="38100" dir="2700000" algn="tl">
                <a:srgbClr val="000000">
                  <a:alpha val="43137"/>
                </a:srgbClr>
              </a:outerShdw>
            </a:effectLst>
          </a:endParaRPr>
        </a:p>
      </dsp:txBody>
      <dsp:txXfrm>
        <a:off x="146189" y="100494"/>
        <a:ext cx="1723846" cy="372930"/>
      </dsp:txXfrm>
    </dsp:sp>
  </dsp:spTree>
</dsp:drawing>
</file>

<file path=ppt/diagrams/drawing7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La posizione competitiva della Sicilia</a:t>
          </a:r>
          <a:endParaRPr lang="it-IT" sz="1200" b="1" kern="1200" dirty="0"/>
        </a:p>
      </dsp:txBody>
      <dsp:txXfrm>
        <a:off x="605078" y="160888"/>
        <a:ext cx="1825125" cy="542320"/>
      </dsp:txXfrm>
    </dsp:sp>
  </dsp:spTree>
</dsp:drawing>
</file>

<file path=ppt/diagrams/drawing7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C256FC-9A38-4083-BFE1-F68DE52602FB}">
      <dsp:nvSpPr>
        <dsp:cNvPr id="0" name=""/>
        <dsp:cNvSpPr/>
      </dsp:nvSpPr>
      <dsp:spPr>
        <a:xfrm>
          <a:off x="0" y="169"/>
          <a:ext cx="3888432" cy="347675"/>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it-IT" sz="1600" kern="1200" dirty="0" smtClean="0"/>
            <a:t> </a:t>
          </a:r>
          <a:r>
            <a:rPr lang="it-IT" sz="1600" b="1" kern="1200" dirty="0" smtClean="0"/>
            <a:t>I vincoli allo sviluppo </a:t>
          </a:r>
          <a:endParaRPr lang="it-IT" sz="1600" b="1" kern="1200" dirty="0"/>
        </a:p>
      </dsp:txBody>
      <dsp:txXfrm>
        <a:off x="0" y="169"/>
        <a:ext cx="3888432" cy="347675"/>
      </dsp:txXfrm>
    </dsp:sp>
  </dsp:spTree>
</dsp:drawing>
</file>

<file path=ppt/diagrams/drawing7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276996-E185-48E5-B074-1AC5BD80CCBA}">
      <dsp:nvSpPr>
        <dsp:cNvPr id="0" name=""/>
        <dsp:cNvSpPr/>
      </dsp:nvSpPr>
      <dsp:spPr>
        <a:xfrm>
          <a:off x="-3988358" y="-612283"/>
          <a:ext cx="4752958" cy="4752958"/>
        </a:xfrm>
        <a:prstGeom prst="blockArc">
          <a:avLst>
            <a:gd name="adj1" fmla="val 18900000"/>
            <a:gd name="adj2" fmla="val 2700000"/>
            <a:gd name="adj3" fmla="val 454"/>
          </a:avLst>
        </a:pr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AA3C894-118B-4BCB-8E55-D582C2D27A1A}">
      <dsp:nvSpPr>
        <dsp:cNvPr id="0" name=""/>
        <dsp:cNvSpPr/>
      </dsp:nvSpPr>
      <dsp:spPr>
        <a:xfrm>
          <a:off x="491705" y="409985"/>
          <a:ext cx="7958511" cy="591386"/>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132" tIns="38100" rIns="38100" bIns="38100" numCol="1" spcCol="1270" anchor="ctr" anchorCtr="0">
          <a:noAutofit/>
        </a:bodyPr>
        <a:lstStyle/>
        <a:p>
          <a:pPr lvl="0" algn="l" defTabSz="666750" rtl="0">
            <a:lnSpc>
              <a:spcPct val="90000"/>
            </a:lnSpc>
            <a:spcBef>
              <a:spcPct val="0"/>
            </a:spcBef>
            <a:spcAft>
              <a:spcPct val="35000"/>
            </a:spcAft>
          </a:pPr>
          <a:r>
            <a:rPr lang="it-IT" sz="1500" kern="1200" dirty="0" smtClean="0"/>
            <a:t>Forti criticità strutturali continuano a condizionare la capacità espansiva e competitiva della filiera Turismo-Cultura in Italia e in Sicilia</a:t>
          </a:r>
          <a:endParaRPr lang="it-IT" sz="1500" kern="1200" dirty="0"/>
        </a:p>
      </dsp:txBody>
      <dsp:txXfrm>
        <a:off x="491705" y="409985"/>
        <a:ext cx="7958511" cy="591386"/>
      </dsp:txXfrm>
    </dsp:sp>
    <dsp:sp modelId="{500D7391-4E1F-46E2-AD3B-6450DC3913D8}">
      <dsp:nvSpPr>
        <dsp:cNvPr id="0" name=""/>
        <dsp:cNvSpPr/>
      </dsp:nvSpPr>
      <dsp:spPr>
        <a:xfrm>
          <a:off x="50656" y="264629"/>
          <a:ext cx="882098" cy="882098"/>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228415-71D7-4E5A-B1D7-56F7F6878B21}">
      <dsp:nvSpPr>
        <dsp:cNvPr id="0" name=""/>
        <dsp:cNvSpPr/>
      </dsp:nvSpPr>
      <dsp:spPr>
        <a:xfrm>
          <a:off x="748219" y="1411356"/>
          <a:ext cx="7701997" cy="705678"/>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132" tIns="38100" rIns="38100" bIns="38100" numCol="1" spcCol="1270" anchor="ctr" anchorCtr="0">
          <a:noAutofit/>
        </a:bodyPr>
        <a:lstStyle/>
        <a:p>
          <a:pPr lvl="0" algn="l" defTabSz="666750" rtl="0">
            <a:lnSpc>
              <a:spcPct val="90000"/>
            </a:lnSpc>
            <a:spcBef>
              <a:spcPct val="0"/>
            </a:spcBef>
            <a:spcAft>
              <a:spcPct val="35000"/>
            </a:spcAft>
          </a:pPr>
          <a:r>
            <a:rPr lang="it-IT" sz="1500" kern="1200" dirty="0" smtClean="0"/>
            <a:t>Nel quadriennio 2006-09 si registra un calo del 4,2% degli arrivi. Il peso specifico della regione sul totale del Mezzogiorno scende in cinque anni (2007-2012) dal 28,2% al 25,3%; quello sul totale nazionale dal 3,8% al 3,2 </a:t>
          </a:r>
          <a:endParaRPr lang="it-IT" sz="1500" kern="1200" dirty="0"/>
        </a:p>
      </dsp:txBody>
      <dsp:txXfrm>
        <a:off x="748219" y="1411356"/>
        <a:ext cx="7701997" cy="705678"/>
      </dsp:txXfrm>
    </dsp:sp>
    <dsp:sp modelId="{E18EB709-0A28-42EE-A184-79E11098830A}">
      <dsp:nvSpPr>
        <dsp:cNvPr id="0" name=""/>
        <dsp:cNvSpPr/>
      </dsp:nvSpPr>
      <dsp:spPr>
        <a:xfrm>
          <a:off x="307170" y="1323147"/>
          <a:ext cx="882098" cy="882098"/>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C613144-D217-449C-89E2-87315C5FF636}">
      <dsp:nvSpPr>
        <dsp:cNvPr id="0" name=""/>
        <dsp:cNvSpPr/>
      </dsp:nvSpPr>
      <dsp:spPr>
        <a:xfrm>
          <a:off x="491705" y="2469874"/>
          <a:ext cx="7958511" cy="705678"/>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132" tIns="38100" rIns="38100" bIns="38100" numCol="1" spcCol="1270" anchor="ctr" anchorCtr="0">
          <a:noAutofit/>
        </a:bodyPr>
        <a:lstStyle/>
        <a:p>
          <a:pPr lvl="0" algn="l" defTabSz="666750" rtl="0">
            <a:lnSpc>
              <a:spcPct val="90000"/>
            </a:lnSpc>
            <a:spcBef>
              <a:spcPct val="0"/>
            </a:spcBef>
            <a:spcAft>
              <a:spcPct val="35000"/>
            </a:spcAft>
          </a:pPr>
          <a:r>
            <a:rPr lang="it-IT" sz="1500" kern="1200" smtClean="0"/>
            <a:t>Nel 2012 la capacità turistica della Sicilia (PIL turistico pari al 3% del PIL regionale) continua ad essere inferiore sia rispetto al dato del Mezzogiorno (PIL turistico pari al 3,4%) ed ancor più rispetto a quello nazionale (PIL turistico di circa il 10%)</a:t>
          </a:r>
          <a:endParaRPr lang="it-IT" sz="1500" kern="1200" dirty="0"/>
        </a:p>
      </dsp:txBody>
      <dsp:txXfrm>
        <a:off x="491705" y="2469874"/>
        <a:ext cx="7958511" cy="705678"/>
      </dsp:txXfrm>
    </dsp:sp>
    <dsp:sp modelId="{C2ED7373-48BA-4A10-B15A-FA4AEA8288DD}">
      <dsp:nvSpPr>
        <dsp:cNvPr id="0" name=""/>
        <dsp:cNvSpPr/>
      </dsp:nvSpPr>
      <dsp:spPr>
        <a:xfrm>
          <a:off x="50656" y="2381664"/>
          <a:ext cx="882098" cy="882098"/>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7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La posizione competitiva della Sicilia</a:t>
          </a:r>
          <a:endParaRPr lang="it-IT" sz="1200" b="1" kern="1200" dirty="0"/>
        </a:p>
      </dsp:txBody>
      <dsp:txXfrm>
        <a:off x="605078" y="160888"/>
        <a:ext cx="1825125" cy="542320"/>
      </dsp:txXfrm>
    </dsp:sp>
  </dsp:spTree>
</dsp:drawing>
</file>

<file path=ppt/diagrams/drawing7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86960"/>
          <a:ext cx="2520280" cy="3528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80319"/>
          <a:ext cx="1764196" cy="41328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1. Sistema produttivo</a:t>
          </a:r>
          <a:endParaRPr lang="it-IT" sz="1400" kern="1200" dirty="0">
            <a:effectLst>
              <a:outerShdw blurRad="38100" dist="38100" dir="2700000" algn="tl">
                <a:srgbClr val="000000">
                  <a:alpha val="43137"/>
                </a:srgbClr>
              </a:outerShdw>
            </a:effectLst>
          </a:endParaRPr>
        </a:p>
      </dsp:txBody>
      <dsp:txXfrm>
        <a:off x="146189" y="100494"/>
        <a:ext cx="1723846" cy="37293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3CC59A-ED65-4B0D-9470-3F18E593A142}">
      <dsp:nvSpPr>
        <dsp:cNvPr id="0" name=""/>
        <dsp:cNvSpPr/>
      </dsp:nvSpPr>
      <dsp:spPr>
        <a:xfrm>
          <a:off x="0" y="0"/>
          <a:ext cx="7574833" cy="0"/>
        </a:xfrm>
        <a:prstGeom prst="line">
          <a:avLst/>
        </a:prstGeom>
        <a:solidFill>
          <a:schemeClr val="accent2">
            <a:alpha val="90000"/>
            <a:hueOff val="0"/>
            <a:satOff val="0"/>
            <a:lumOff val="0"/>
            <a:alphaOff val="0"/>
          </a:schemeClr>
        </a:solidFill>
        <a:ln w="25400" cap="flat" cmpd="sng" algn="ctr">
          <a:solidFill>
            <a:schemeClr val="accent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E4F97BB-80AE-4B89-8B32-FB05A53BD028}">
      <dsp:nvSpPr>
        <dsp:cNvPr id="0" name=""/>
        <dsp:cNvSpPr/>
      </dsp:nvSpPr>
      <dsp:spPr>
        <a:xfrm>
          <a:off x="0" y="0"/>
          <a:ext cx="7574833" cy="729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rtl="0">
            <a:lnSpc>
              <a:spcPct val="90000"/>
            </a:lnSpc>
            <a:spcBef>
              <a:spcPct val="0"/>
            </a:spcBef>
            <a:spcAft>
              <a:spcPct val="35000"/>
            </a:spcAft>
          </a:pPr>
          <a:endParaRPr lang="it-IT" sz="1800" b="1" i="0" kern="1200" dirty="0">
            <a:solidFill>
              <a:srgbClr val="C00000"/>
            </a:solidFill>
          </a:endParaRPr>
        </a:p>
      </dsp:txBody>
      <dsp:txXfrm>
        <a:off x="0" y="0"/>
        <a:ext cx="7574833" cy="729762"/>
      </dsp:txXfrm>
    </dsp:sp>
  </dsp:spTree>
</dsp:drawing>
</file>

<file path=ppt/diagrams/drawing8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E77284-B9F8-446A-9F18-04F1EDF2DFFE}">
      <dsp:nvSpPr>
        <dsp:cNvPr id="0" name=""/>
        <dsp:cNvSpPr/>
      </dsp:nvSpPr>
      <dsp:spPr>
        <a:xfrm>
          <a:off x="0" y="1508"/>
          <a:ext cx="6768752" cy="0"/>
        </a:xfrm>
        <a:prstGeom prst="lin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D6F42CC-5201-4CF0-B2C1-49C4DC3C24FA}">
      <dsp:nvSpPr>
        <dsp:cNvPr id="0" name=""/>
        <dsp:cNvSpPr/>
      </dsp:nvSpPr>
      <dsp:spPr>
        <a:xfrm>
          <a:off x="0" y="1508"/>
          <a:ext cx="6768752" cy="3487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rtl="0">
            <a:lnSpc>
              <a:spcPct val="90000"/>
            </a:lnSpc>
            <a:spcBef>
              <a:spcPct val="0"/>
            </a:spcBef>
            <a:spcAft>
              <a:spcPct val="35000"/>
            </a:spcAft>
          </a:pPr>
          <a:r>
            <a:rPr lang="it-IT" sz="1400" b="1" kern="1200" dirty="0" smtClean="0"/>
            <a:t>scarsa capacità recettiva rispetto agli abitanti</a:t>
          </a:r>
          <a:endParaRPr lang="it-IT" sz="1400" b="1" kern="1200" dirty="0"/>
        </a:p>
      </dsp:txBody>
      <dsp:txXfrm>
        <a:off x="0" y="1508"/>
        <a:ext cx="6768752" cy="348718"/>
      </dsp:txXfrm>
    </dsp:sp>
    <dsp:sp modelId="{8D771231-BA78-4908-BB7B-D8D6E68A4F94}">
      <dsp:nvSpPr>
        <dsp:cNvPr id="0" name=""/>
        <dsp:cNvSpPr/>
      </dsp:nvSpPr>
      <dsp:spPr>
        <a:xfrm>
          <a:off x="0" y="350227"/>
          <a:ext cx="6768752" cy="0"/>
        </a:xfrm>
        <a:prstGeom prst="lin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A7E477A-EDAC-4977-9FB7-C42FE4CC628B}">
      <dsp:nvSpPr>
        <dsp:cNvPr id="0" name=""/>
        <dsp:cNvSpPr/>
      </dsp:nvSpPr>
      <dsp:spPr>
        <a:xfrm>
          <a:off x="0" y="350227"/>
          <a:ext cx="6768752" cy="3042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rtl="0">
            <a:lnSpc>
              <a:spcPct val="90000"/>
            </a:lnSpc>
            <a:spcBef>
              <a:spcPct val="0"/>
            </a:spcBef>
            <a:spcAft>
              <a:spcPct val="35000"/>
            </a:spcAft>
          </a:pPr>
          <a:r>
            <a:rPr lang="it-IT" sz="1400" b="1" kern="1200" dirty="0" smtClean="0"/>
            <a:t>frammentazione dell'offerta </a:t>
          </a:r>
          <a:endParaRPr lang="it-IT" sz="1400" b="1" kern="1200" dirty="0"/>
        </a:p>
      </dsp:txBody>
      <dsp:txXfrm>
        <a:off x="0" y="350227"/>
        <a:ext cx="6768752" cy="304265"/>
      </dsp:txXfrm>
    </dsp:sp>
    <dsp:sp modelId="{21165AB0-FB69-42C1-964C-0CB01F3A7266}">
      <dsp:nvSpPr>
        <dsp:cNvPr id="0" name=""/>
        <dsp:cNvSpPr/>
      </dsp:nvSpPr>
      <dsp:spPr>
        <a:xfrm>
          <a:off x="0" y="654492"/>
          <a:ext cx="6768752" cy="0"/>
        </a:xfrm>
        <a:prstGeom prst="lin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0678905-37C3-4975-AAA3-618BA1A97117}">
      <dsp:nvSpPr>
        <dsp:cNvPr id="0" name=""/>
        <dsp:cNvSpPr/>
      </dsp:nvSpPr>
      <dsp:spPr>
        <a:xfrm>
          <a:off x="0" y="654492"/>
          <a:ext cx="6768752" cy="3634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rtl="0">
            <a:lnSpc>
              <a:spcPct val="90000"/>
            </a:lnSpc>
            <a:spcBef>
              <a:spcPct val="0"/>
            </a:spcBef>
            <a:spcAft>
              <a:spcPct val="35000"/>
            </a:spcAft>
          </a:pPr>
          <a:r>
            <a:rPr lang="it-IT" sz="1400" b="1" kern="1200" dirty="0" smtClean="0"/>
            <a:t>insufficiente diffusione e utilizzo delle nuove tecnologie </a:t>
          </a:r>
          <a:endParaRPr lang="it-IT" sz="1400" b="1" kern="1200" dirty="0"/>
        </a:p>
      </dsp:txBody>
      <dsp:txXfrm>
        <a:off x="0" y="654492"/>
        <a:ext cx="6768752" cy="363430"/>
      </dsp:txXfrm>
    </dsp:sp>
    <dsp:sp modelId="{9D924A19-DAD6-485E-87C0-152F048C25AB}">
      <dsp:nvSpPr>
        <dsp:cNvPr id="0" name=""/>
        <dsp:cNvSpPr/>
      </dsp:nvSpPr>
      <dsp:spPr>
        <a:xfrm>
          <a:off x="0" y="1017923"/>
          <a:ext cx="6768752" cy="0"/>
        </a:xfrm>
        <a:prstGeom prst="lin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2CB83DA-13FF-453F-B742-2C97346EC855}">
      <dsp:nvSpPr>
        <dsp:cNvPr id="0" name=""/>
        <dsp:cNvSpPr/>
      </dsp:nvSpPr>
      <dsp:spPr>
        <a:xfrm>
          <a:off x="0" y="1017923"/>
          <a:ext cx="6768752" cy="3006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rtl="0">
            <a:lnSpc>
              <a:spcPct val="90000"/>
            </a:lnSpc>
            <a:spcBef>
              <a:spcPct val="0"/>
            </a:spcBef>
            <a:spcAft>
              <a:spcPct val="35000"/>
            </a:spcAft>
          </a:pPr>
          <a:r>
            <a:rPr lang="it-IT" sz="1400" b="1" kern="1200" dirty="0" smtClean="0"/>
            <a:t>diffusione di micro-imprenditorialità senza visione strategica</a:t>
          </a:r>
          <a:endParaRPr lang="it-IT" sz="1400" b="1" kern="1200" dirty="0"/>
        </a:p>
      </dsp:txBody>
      <dsp:txXfrm>
        <a:off x="0" y="1017923"/>
        <a:ext cx="6768752" cy="300652"/>
      </dsp:txXfrm>
    </dsp:sp>
    <dsp:sp modelId="{C244273B-CE8E-4919-941A-B260279C5B54}">
      <dsp:nvSpPr>
        <dsp:cNvPr id="0" name=""/>
        <dsp:cNvSpPr/>
      </dsp:nvSpPr>
      <dsp:spPr>
        <a:xfrm>
          <a:off x="0" y="1318575"/>
          <a:ext cx="6768752" cy="0"/>
        </a:xfrm>
        <a:prstGeom prst="lin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D7F02FD-CB65-47A6-8254-AED4021613BE}">
      <dsp:nvSpPr>
        <dsp:cNvPr id="0" name=""/>
        <dsp:cNvSpPr/>
      </dsp:nvSpPr>
      <dsp:spPr>
        <a:xfrm>
          <a:off x="0" y="1318575"/>
          <a:ext cx="6768752" cy="5357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rtl="0">
            <a:lnSpc>
              <a:spcPct val="90000"/>
            </a:lnSpc>
            <a:spcBef>
              <a:spcPct val="0"/>
            </a:spcBef>
            <a:spcAft>
              <a:spcPct val="35000"/>
            </a:spcAft>
          </a:pPr>
          <a:r>
            <a:rPr lang="it-IT" sz="1400" b="1" kern="1200" dirty="0" smtClean="0"/>
            <a:t>limitata presenza di grandi catene alberghiere (solo 8 catene presenti in Sicilia, mentre ben 42 si contano nella sola Barcellona e 26 a Vienna)</a:t>
          </a:r>
          <a:endParaRPr lang="it-IT" sz="1400" b="1" kern="1200" dirty="0"/>
        </a:p>
      </dsp:txBody>
      <dsp:txXfrm>
        <a:off x="0" y="1318575"/>
        <a:ext cx="6768752" cy="535747"/>
      </dsp:txXfrm>
    </dsp:sp>
    <dsp:sp modelId="{EF64DF17-E9B8-4D4B-9D44-8B6EB877C058}">
      <dsp:nvSpPr>
        <dsp:cNvPr id="0" name=""/>
        <dsp:cNvSpPr/>
      </dsp:nvSpPr>
      <dsp:spPr>
        <a:xfrm>
          <a:off x="0" y="1854323"/>
          <a:ext cx="6768752" cy="0"/>
        </a:xfrm>
        <a:prstGeom prst="lin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C3DE0A-9F3C-4835-9629-48832F678E1B}">
      <dsp:nvSpPr>
        <dsp:cNvPr id="0" name=""/>
        <dsp:cNvSpPr/>
      </dsp:nvSpPr>
      <dsp:spPr>
        <a:xfrm>
          <a:off x="0" y="1854323"/>
          <a:ext cx="6768752" cy="3529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rtl="0">
            <a:lnSpc>
              <a:spcPct val="90000"/>
            </a:lnSpc>
            <a:spcBef>
              <a:spcPct val="0"/>
            </a:spcBef>
            <a:spcAft>
              <a:spcPct val="35000"/>
            </a:spcAft>
          </a:pPr>
          <a:r>
            <a:rPr lang="it-IT" sz="1400" b="1" kern="1200" dirty="0" smtClean="0"/>
            <a:t>spiccata stagionalità</a:t>
          </a:r>
          <a:endParaRPr lang="it-IT" sz="1400" b="1" kern="1200" dirty="0"/>
        </a:p>
      </dsp:txBody>
      <dsp:txXfrm>
        <a:off x="0" y="1854323"/>
        <a:ext cx="6768752" cy="352985"/>
      </dsp:txXfrm>
    </dsp:sp>
    <dsp:sp modelId="{9D72FC28-B1C1-429A-AECF-EA857DA8733F}">
      <dsp:nvSpPr>
        <dsp:cNvPr id="0" name=""/>
        <dsp:cNvSpPr/>
      </dsp:nvSpPr>
      <dsp:spPr>
        <a:xfrm>
          <a:off x="0" y="2207308"/>
          <a:ext cx="6768752" cy="0"/>
        </a:xfrm>
        <a:prstGeom prst="lin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E61A89F-C752-45B7-9FF8-69422DB19B66}">
      <dsp:nvSpPr>
        <dsp:cNvPr id="0" name=""/>
        <dsp:cNvSpPr/>
      </dsp:nvSpPr>
      <dsp:spPr>
        <a:xfrm>
          <a:off x="0" y="2207308"/>
          <a:ext cx="6768752" cy="3651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rtl="0">
            <a:lnSpc>
              <a:spcPct val="90000"/>
            </a:lnSpc>
            <a:spcBef>
              <a:spcPct val="0"/>
            </a:spcBef>
            <a:spcAft>
              <a:spcPct val="35000"/>
            </a:spcAft>
          </a:pPr>
          <a:r>
            <a:rPr lang="it-IT" sz="1400" b="1" kern="1200" dirty="0" smtClean="0"/>
            <a:t>modello di governance non integrato</a:t>
          </a:r>
          <a:endParaRPr lang="it-IT" sz="1400" b="1" kern="1200" dirty="0"/>
        </a:p>
      </dsp:txBody>
      <dsp:txXfrm>
        <a:off x="0" y="2207308"/>
        <a:ext cx="6768752" cy="365191"/>
      </dsp:txXfrm>
    </dsp:sp>
    <dsp:sp modelId="{F55A0AC0-43B4-4920-9BDA-7803FD7C9800}">
      <dsp:nvSpPr>
        <dsp:cNvPr id="0" name=""/>
        <dsp:cNvSpPr/>
      </dsp:nvSpPr>
      <dsp:spPr>
        <a:xfrm>
          <a:off x="0" y="2572499"/>
          <a:ext cx="6768752" cy="0"/>
        </a:xfrm>
        <a:prstGeom prst="lin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77BE53A-E1F3-4855-9847-A562A558BAD5}">
      <dsp:nvSpPr>
        <dsp:cNvPr id="0" name=""/>
        <dsp:cNvSpPr/>
      </dsp:nvSpPr>
      <dsp:spPr>
        <a:xfrm>
          <a:off x="0" y="2572499"/>
          <a:ext cx="6768752" cy="466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rtl="0">
            <a:lnSpc>
              <a:spcPct val="90000"/>
            </a:lnSpc>
            <a:spcBef>
              <a:spcPct val="0"/>
            </a:spcBef>
            <a:spcAft>
              <a:spcPct val="35000"/>
            </a:spcAft>
          </a:pPr>
          <a:r>
            <a:rPr lang="it-IT" sz="1400" b="1" kern="1200" dirty="0" smtClean="0"/>
            <a:t>problemi legati alla sicurezza </a:t>
          </a:r>
          <a:endParaRPr lang="it-IT" sz="1400" b="1" kern="1200" dirty="0"/>
        </a:p>
      </dsp:txBody>
      <dsp:txXfrm>
        <a:off x="0" y="2572499"/>
        <a:ext cx="6768752" cy="466304"/>
      </dsp:txXfrm>
    </dsp:sp>
    <dsp:sp modelId="{A2BB0196-E0DD-47E0-B473-8601001CFC15}">
      <dsp:nvSpPr>
        <dsp:cNvPr id="0" name=""/>
        <dsp:cNvSpPr/>
      </dsp:nvSpPr>
      <dsp:spPr>
        <a:xfrm>
          <a:off x="0" y="3038804"/>
          <a:ext cx="6768752" cy="0"/>
        </a:xfrm>
        <a:prstGeom prst="lin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7820CAE-9A87-4857-9F4F-65C6E255FBD8}">
      <dsp:nvSpPr>
        <dsp:cNvPr id="0" name=""/>
        <dsp:cNvSpPr/>
      </dsp:nvSpPr>
      <dsp:spPr>
        <a:xfrm>
          <a:off x="0" y="3038804"/>
          <a:ext cx="6768752" cy="3256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rtl="0">
            <a:lnSpc>
              <a:spcPct val="90000"/>
            </a:lnSpc>
            <a:spcBef>
              <a:spcPct val="0"/>
            </a:spcBef>
            <a:spcAft>
              <a:spcPct val="35000"/>
            </a:spcAft>
          </a:pPr>
          <a:r>
            <a:rPr lang="it-IT" sz="1400" b="1" kern="1200" dirty="0" smtClean="0"/>
            <a:t>inadeguatezza delle infrastrutture di trasporto e dell’ accessibilità dall’estero </a:t>
          </a:r>
          <a:endParaRPr lang="it-IT" sz="1400" b="1" kern="1200" dirty="0"/>
        </a:p>
      </dsp:txBody>
      <dsp:txXfrm>
        <a:off x="0" y="3038804"/>
        <a:ext cx="6768752" cy="325611"/>
      </dsp:txXfrm>
    </dsp:sp>
    <dsp:sp modelId="{3A5097A5-DC56-4B41-AE8F-CC4B69A61CE7}">
      <dsp:nvSpPr>
        <dsp:cNvPr id="0" name=""/>
        <dsp:cNvSpPr/>
      </dsp:nvSpPr>
      <dsp:spPr>
        <a:xfrm>
          <a:off x="0" y="3364416"/>
          <a:ext cx="6768752" cy="0"/>
        </a:xfrm>
        <a:prstGeom prst="lin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DB1294A-5210-4B59-B333-26236138CA51}">
      <dsp:nvSpPr>
        <dsp:cNvPr id="0" name=""/>
        <dsp:cNvSpPr/>
      </dsp:nvSpPr>
      <dsp:spPr>
        <a:xfrm>
          <a:off x="0" y="3364416"/>
          <a:ext cx="6768752" cy="4427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rtl="0">
            <a:lnSpc>
              <a:spcPct val="90000"/>
            </a:lnSpc>
            <a:spcBef>
              <a:spcPct val="0"/>
            </a:spcBef>
            <a:spcAft>
              <a:spcPct val="35000"/>
            </a:spcAft>
          </a:pPr>
          <a:r>
            <a:rPr lang="it-IT" sz="1400" b="1" kern="1200" dirty="0" smtClean="0"/>
            <a:t>formazione del personale non in linea con il mercato globale </a:t>
          </a:r>
          <a:endParaRPr lang="it-IT" sz="1400" b="1" kern="1200" dirty="0"/>
        </a:p>
      </dsp:txBody>
      <dsp:txXfrm>
        <a:off x="0" y="3364416"/>
        <a:ext cx="6768752" cy="442772"/>
      </dsp:txXfrm>
    </dsp:sp>
    <dsp:sp modelId="{1E5CD0A2-BBBE-4085-9093-863DC024EB45}">
      <dsp:nvSpPr>
        <dsp:cNvPr id="0" name=""/>
        <dsp:cNvSpPr/>
      </dsp:nvSpPr>
      <dsp:spPr>
        <a:xfrm>
          <a:off x="0" y="3807188"/>
          <a:ext cx="6768752" cy="0"/>
        </a:xfrm>
        <a:prstGeom prst="lin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761A90-8403-4128-857C-CB36C75AFF38}">
      <dsp:nvSpPr>
        <dsp:cNvPr id="0" name=""/>
        <dsp:cNvSpPr/>
      </dsp:nvSpPr>
      <dsp:spPr>
        <a:xfrm>
          <a:off x="0" y="3807188"/>
          <a:ext cx="6768752" cy="3493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rtl="0">
            <a:lnSpc>
              <a:spcPct val="90000"/>
            </a:lnSpc>
            <a:spcBef>
              <a:spcPct val="0"/>
            </a:spcBef>
            <a:spcAft>
              <a:spcPct val="35000"/>
            </a:spcAft>
          </a:pPr>
          <a:r>
            <a:rPr lang="it-IT" sz="1400" b="1" kern="1200" dirty="0" smtClean="0"/>
            <a:t>offerta non allineata ai bisogni dei segmenti target</a:t>
          </a:r>
          <a:endParaRPr lang="it-IT" sz="1400" b="1" kern="1200" dirty="0"/>
        </a:p>
      </dsp:txBody>
      <dsp:txXfrm>
        <a:off x="0" y="3807188"/>
        <a:ext cx="6768752" cy="349356"/>
      </dsp:txXfrm>
    </dsp:sp>
    <dsp:sp modelId="{92909243-86BD-49C4-934F-56719D77D55B}">
      <dsp:nvSpPr>
        <dsp:cNvPr id="0" name=""/>
        <dsp:cNvSpPr/>
      </dsp:nvSpPr>
      <dsp:spPr>
        <a:xfrm>
          <a:off x="0" y="4156545"/>
          <a:ext cx="6768752" cy="0"/>
        </a:xfrm>
        <a:prstGeom prst="lin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60B34FB-F048-47CD-995C-CE73BF97D978}">
      <dsp:nvSpPr>
        <dsp:cNvPr id="0" name=""/>
        <dsp:cNvSpPr/>
      </dsp:nvSpPr>
      <dsp:spPr>
        <a:xfrm>
          <a:off x="0" y="4156545"/>
          <a:ext cx="6768752" cy="2753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rtl="0">
            <a:lnSpc>
              <a:spcPct val="90000"/>
            </a:lnSpc>
            <a:spcBef>
              <a:spcPct val="0"/>
            </a:spcBef>
            <a:spcAft>
              <a:spcPct val="35000"/>
            </a:spcAft>
          </a:pPr>
          <a:r>
            <a:rPr lang="it-IT" sz="1400" b="1" kern="1200" dirty="0" smtClean="0"/>
            <a:t>insufficiente innovazione nei prodotti turistici</a:t>
          </a:r>
          <a:endParaRPr lang="it-IT" sz="1400" b="1" kern="1200" dirty="0"/>
        </a:p>
      </dsp:txBody>
      <dsp:txXfrm>
        <a:off x="0" y="4156545"/>
        <a:ext cx="6768752" cy="275358"/>
      </dsp:txXfrm>
    </dsp:sp>
    <dsp:sp modelId="{7BC99CCF-DAC6-43E7-87B5-CFAE750835B5}">
      <dsp:nvSpPr>
        <dsp:cNvPr id="0" name=""/>
        <dsp:cNvSpPr/>
      </dsp:nvSpPr>
      <dsp:spPr>
        <a:xfrm>
          <a:off x="0" y="4431904"/>
          <a:ext cx="6768752" cy="0"/>
        </a:xfrm>
        <a:prstGeom prst="lin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DDDDD3-2F15-41C9-9881-41FAE9B4D889}">
      <dsp:nvSpPr>
        <dsp:cNvPr id="0" name=""/>
        <dsp:cNvSpPr/>
      </dsp:nvSpPr>
      <dsp:spPr>
        <a:xfrm>
          <a:off x="0" y="4431904"/>
          <a:ext cx="6768752" cy="4631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rtl="0">
            <a:lnSpc>
              <a:spcPct val="90000"/>
            </a:lnSpc>
            <a:spcBef>
              <a:spcPct val="0"/>
            </a:spcBef>
            <a:spcAft>
              <a:spcPct val="35000"/>
            </a:spcAft>
          </a:pPr>
          <a:r>
            <a:rPr lang="it-IT" sz="1400" b="1" kern="1200" dirty="0" smtClean="0"/>
            <a:t>patrimonio culturale poco valorizzato sia a fini turistici (numero di visitatori) sia in termini economici (ricavi per singolo turista) rispetto a tutti i benchmark internazionali</a:t>
          </a:r>
          <a:endParaRPr lang="it-IT" sz="1400" b="1" kern="1200" dirty="0"/>
        </a:p>
      </dsp:txBody>
      <dsp:txXfrm>
        <a:off x="0" y="4431904"/>
        <a:ext cx="6768752" cy="463131"/>
      </dsp:txXfrm>
    </dsp:sp>
  </dsp:spTree>
</dsp:drawing>
</file>

<file path=ppt/diagrams/drawing8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86960"/>
          <a:ext cx="2520280" cy="3528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80319"/>
          <a:ext cx="1764196" cy="41328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1. Sistema produttivo</a:t>
          </a:r>
          <a:endParaRPr lang="it-IT" sz="1400" kern="1200" dirty="0">
            <a:effectLst>
              <a:outerShdw blurRad="38100" dist="38100" dir="2700000" algn="tl">
                <a:srgbClr val="000000">
                  <a:alpha val="43137"/>
                </a:srgbClr>
              </a:outerShdw>
            </a:effectLst>
          </a:endParaRPr>
        </a:p>
      </dsp:txBody>
      <dsp:txXfrm>
        <a:off x="146189" y="100494"/>
        <a:ext cx="1723846" cy="372930"/>
      </dsp:txXfrm>
    </dsp:sp>
  </dsp:spTree>
</dsp:drawing>
</file>

<file path=ppt/diagrams/drawing8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La posizione competitiva della Sicilia</a:t>
          </a:r>
          <a:endParaRPr lang="it-IT" sz="1200" b="1" kern="1200" dirty="0"/>
        </a:p>
      </dsp:txBody>
      <dsp:txXfrm>
        <a:off x="605078" y="160888"/>
        <a:ext cx="1825125" cy="542320"/>
      </dsp:txXfrm>
    </dsp:sp>
  </dsp:spTree>
</dsp:drawing>
</file>

<file path=ppt/diagrams/drawing8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1CCAE3-4E5B-4AD4-98CF-C84CFD4B2B61}">
      <dsp:nvSpPr>
        <dsp:cNvPr id="0" name=""/>
        <dsp:cNvSpPr/>
      </dsp:nvSpPr>
      <dsp:spPr>
        <a:xfrm>
          <a:off x="1380422" y="249817"/>
          <a:ext cx="3413760" cy="3413760"/>
        </a:xfrm>
        <a:prstGeom prst="pie">
          <a:avLst>
            <a:gd name="adj1" fmla="val 16200000"/>
            <a:gd name="adj2" fmla="val 0"/>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it-IT" sz="1300" kern="1200" dirty="0" smtClean="0"/>
            <a:t>Avvio</a:t>
          </a:r>
          <a:endParaRPr lang="it-IT" sz="1300" kern="1200" dirty="0"/>
        </a:p>
      </dsp:txBody>
      <dsp:txXfrm>
        <a:off x="3192560" y="957360"/>
        <a:ext cx="1259840" cy="934720"/>
      </dsp:txXfrm>
    </dsp:sp>
    <dsp:sp modelId="{F0F6EC78-48FE-4338-9470-51C5945E4C5A}">
      <dsp:nvSpPr>
        <dsp:cNvPr id="0" name=""/>
        <dsp:cNvSpPr/>
      </dsp:nvSpPr>
      <dsp:spPr>
        <a:xfrm>
          <a:off x="1380422" y="364422"/>
          <a:ext cx="3413760" cy="3413760"/>
        </a:xfrm>
        <a:prstGeom prst="pie">
          <a:avLst>
            <a:gd name="adj1" fmla="val 0"/>
            <a:gd name="adj2" fmla="val 5400000"/>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it-IT" sz="1300" kern="1200" dirty="0" smtClean="0"/>
            <a:t>Elaborazione ed invio contributi</a:t>
          </a:r>
          <a:endParaRPr lang="it-IT" sz="1300" kern="1200" dirty="0"/>
        </a:p>
      </dsp:txBody>
      <dsp:txXfrm>
        <a:off x="3192560" y="2135920"/>
        <a:ext cx="1259840" cy="934720"/>
      </dsp:txXfrm>
    </dsp:sp>
    <dsp:sp modelId="{6474684D-7762-4CD1-A3B4-D72EED99A80F}">
      <dsp:nvSpPr>
        <dsp:cNvPr id="0" name=""/>
        <dsp:cNvSpPr/>
      </dsp:nvSpPr>
      <dsp:spPr>
        <a:xfrm>
          <a:off x="1265817" y="364422"/>
          <a:ext cx="3413760" cy="3413760"/>
        </a:xfrm>
        <a:prstGeom prst="pie">
          <a:avLst>
            <a:gd name="adj1" fmla="val 5400000"/>
            <a:gd name="adj2" fmla="val 10800000"/>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it-IT" sz="1300" kern="1200" dirty="0" smtClean="0"/>
            <a:t>Raccolta e sistematizzazione contributi</a:t>
          </a:r>
          <a:endParaRPr lang="it-IT" sz="1300" kern="1200" dirty="0"/>
        </a:p>
      </dsp:txBody>
      <dsp:txXfrm>
        <a:off x="1607600" y="2135920"/>
        <a:ext cx="1259840" cy="934720"/>
      </dsp:txXfrm>
    </dsp:sp>
    <dsp:sp modelId="{2CD97BB5-9B57-47E0-A5C0-4486B247297F}">
      <dsp:nvSpPr>
        <dsp:cNvPr id="0" name=""/>
        <dsp:cNvSpPr/>
      </dsp:nvSpPr>
      <dsp:spPr>
        <a:xfrm>
          <a:off x="1265817" y="249817"/>
          <a:ext cx="3413760" cy="3413760"/>
        </a:xfrm>
        <a:prstGeom prst="pie">
          <a:avLst>
            <a:gd name="adj1" fmla="val 10800000"/>
            <a:gd name="adj2" fmla="val 16200000"/>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it-IT" sz="1300" kern="1200" dirty="0" smtClean="0"/>
            <a:t>Restituzione e condivisione</a:t>
          </a:r>
          <a:endParaRPr lang="it-IT" sz="1300" kern="1200" dirty="0"/>
        </a:p>
      </dsp:txBody>
      <dsp:txXfrm>
        <a:off x="1607600" y="957360"/>
        <a:ext cx="1259840" cy="934720"/>
      </dsp:txXfrm>
    </dsp:sp>
    <dsp:sp modelId="{5CC2729F-211C-496E-9C98-DF70F4BFF7C1}">
      <dsp:nvSpPr>
        <dsp:cNvPr id="0" name=""/>
        <dsp:cNvSpPr/>
      </dsp:nvSpPr>
      <dsp:spPr>
        <a:xfrm>
          <a:off x="1169094" y="38489"/>
          <a:ext cx="3836416" cy="3836416"/>
        </a:xfrm>
        <a:prstGeom prst="circularArrow">
          <a:avLst>
            <a:gd name="adj1" fmla="val 5085"/>
            <a:gd name="adj2" fmla="val 327528"/>
            <a:gd name="adj3" fmla="val 21272472"/>
            <a:gd name="adj4" fmla="val 16200000"/>
            <a:gd name="adj5" fmla="val 593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6E92B4D0-B766-4BEF-AE06-9F28B81EEEE6}">
      <dsp:nvSpPr>
        <dsp:cNvPr id="0" name=""/>
        <dsp:cNvSpPr/>
      </dsp:nvSpPr>
      <dsp:spPr>
        <a:xfrm>
          <a:off x="1169094" y="153094"/>
          <a:ext cx="3836416" cy="3836416"/>
        </a:xfrm>
        <a:prstGeom prst="circularArrow">
          <a:avLst>
            <a:gd name="adj1" fmla="val 5085"/>
            <a:gd name="adj2" fmla="val 327528"/>
            <a:gd name="adj3" fmla="val 5072472"/>
            <a:gd name="adj4" fmla="val 0"/>
            <a:gd name="adj5" fmla="val 593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2C8C345A-097E-4D75-B389-7699A21EF75E}">
      <dsp:nvSpPr>
        <dsp:cNvPr id="0" name=""/>
        <dsp:cNvSpPr/>
      </dsp:nvSpPr>
      <dsp:spPr>
        <a:xfrm>
          <a:off x="1049770" y="198018"/>
          <a:ext cx="3836416" cy="3836416"/>
        </a:xfrm>
        <a:prstGeom prst="circularArrow">
          <a:avLst>
            <a:gd name="adj1" fmla="val 5085"/>
            <a:gd name="adj2" fmla="val 327528"/>
            <a:gd name="adj3" fmla="val 10472472"/>
            <a:gd name="adj4" fmla="val 5400000"/>
            <a:gd name="adj5" fmla="val 593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A214AC69-442E-4B0A-9DD7-23F3962569FF}">
      <dsp:nvSpPr>
        <dsp:cNvPr id="0" name=""/>
        <dsp:cNvSpPr/>
      </dsp:nvSpPr>
      <dsp:spPr>
        <a:xfrm>
          <a:off x="1054489" y="38489"/>
          <a:ext cx="3836416" cy="3836416"/>
        </a:xfrm>
        <a:prstGeom prst="circularArrow">
          <a:avLst>
            <a:gd name="adj1" fmla="val 5085"/>
            <a:gd name="adj2" fmla="val 327528"/>
            <a:gd name="adj3" fmla="val 15872472"/>
            <a:gd name="adj4" fmla="val 10800000"/>
            <a:gd name="adj5" fmla="val 593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Tree>
</dsp:drawing>
</file>

<file path=ppt/diagrams/drawing9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10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6.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10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0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9.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1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1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1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4.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11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1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1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18.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119.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12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2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2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2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2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9.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pList2#1">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21.xml><?xml version="1.0" encoding="utf-8"?>
<dgm:layoutDef xmlns:dgm="http://schemas.openxmlformats.org/drawingml/2006/diagram" xmlns:a="http://schemas.openxmlformats.org/drawingml/2006/main" uniqueId="urn:microsoft.com/office/officeart/2005/8/layout/pList2#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2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3.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5.xml><?xml version="1.0" encoding="utf-8"?>
<dgm:layoutDef xmlns:dgm="http://schemas.openxmlformats.org/drawingml/2006/diagram" xmlns:a="http://schemas.openxmlformats.org/drawingml/2006/main" uniqueId="urn:microsoft.com/office/officeart/2005/8/layout/hList7#1">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6.xml><?xml version="1.0" encoding="utf-8"?>
<dgm:layoutDef xmlns:dgm="http://schemas.openxmlformats.org/drawingml/2006/diagram" xmlns:a="http://schemas.openxmlformats.org/drawingml/2006/main" uniqueId="urn:microsoft.com/office/officeart/2005/8/layout/vList4#1">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7.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9.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0.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3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3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3.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3.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44.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45.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46.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47.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48.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49.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0.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1.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2.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3.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4.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5.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6.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7.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8.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2.xml><?xml version="1.0" encoding="utf-8"?>
<dgm:layoutDef xmlns:dgm="http://schemas.openxmlformats.org/drawingml/2006/diagram" xmlns:a="http://schemas.openxmlformats.org/drawingml/2006/main" uniqueId="urn:diagrams.loki3.com/BracketList+Icon">
  <dgm:title val="Elenco verticale con parentesi"/>
  <dgm:desc val="Mostra blocchi di informazioni raggruppate. Risultati ottimali con grandi quantità di testo di livello 2."/>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6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4.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65.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6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7.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6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9.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1.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7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7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5.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76.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7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78.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7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3.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8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7.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8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9.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9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3.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9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9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7.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9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9.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10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6">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3d6">
  <dgm:title val=""/>
  <dgm:desc val=""/>
  <dgm:catLst>
    <dgm:cat type="3D" pri="11600"/>
  </dgm:catLst>
  <dgm:scene3d>
    <a:camera prst="perspectiveRelaxedModerately" zoom="92000"/>
    <a:lightRig rig="balanced" dir="t">
      <a:rot lat="0" lon="0" rev="12700000"/>
    </a:lightRig>
  </dgm:scene3d>
  <dgm:styleLbl name="node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z="-54000" prstMaterial="plastic">
      <a:bevelT w="50800" h="50800"/>
      <a:bevelB w="50800" h="50800"/>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z="-2540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54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25400" prstMaterial="plastic"/>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75000" prstMaterial="plastic"/>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3">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4">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1D1">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2">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3">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4">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fgAcc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threePt" dir="t"/>
    </dgm:scene3d>
    <dgm:sp3d z="50080" prstMaterial="plastic">
      <a:bevelT w="25400" h="25400"/>
      <a:bevelB w="25400" h="25400"/>
    </dgm:sp3d>
    <dgm:txPr/>
    <dgm:style>
      <a:lnRef idx="0">
        <a:scrgbClr r="0" g="0" b="0"/>
      </a:lnRef>
      <a:fillRef idx="1">
        <a:scrgbClr r="0" g="0" b="0"/>
      </a:fillRef>
      <a:effectRef idx="2">
        <a:scrgbClr r="0" g="0" b="0"/>
      </a:effectRef>
      <a:fontRef idx="minor"/>
    </dgm:style>
  </dgm:styleLbl>
  <dgm:styleLbl name="alignAccFollowNode1">
    <dgm:scene3d>
      <a:camera prst="orthographicFront"/>
      <a:lightRig rig="threePt" dir="t"/>
    </dgm:scene3d>
    <dgm:sp3d prstMaterial="plastic">
      <a:bevelT w="25400" h="25400"/>
      <a:bevelB w="25400" h="25400"/>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prstMaterial="plastic">
      <a:bevelT w="25400" h="25400"/>
      <a:bevelB w="25400" h="25400"/>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52400" prstMaterial="plastic">
      <a:bevelT w="25400" h="25400"/>
      <a:bevelB w="25400" h="25400"/>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z="-10400" extrusionH="12700" prstMaterial="plastic"/>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1">
        <a:scrgbClr r="0" g="0" b="0"/>
      </a:fillRef>
      <a:effectRef idx="0">
        <a:scrgbClr r="0" g="0" b="0"/>
      </a:effectRef>
      <a:fontRef idx="minor"/>
    </dgm:style>
  </dgm:styleLbl>
</dgm:styleDef>
</file>

<file path=ppt/diagrams/quickStyle1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8">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9">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10">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6">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9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CDD15B6-F593-48AA-B6C6-87E690ABB4E7}" type="datetimeFigureOut">
              <a:rPr lang="it-IT" smtClean="0"/>
              <a:pPr/>
              <a:t>10/05/2014</a:t>
            </a:fld>
            <a:endParaRPr lang="it-IT"/>
          </a:p>
        </p:txBody>
      </p:sp>
      <p:sp>
        <p:nvSpPr>
          <p:cNvPr id="4" name="Segnaposto immagine diapositiva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piè di pa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38A6E7B-AB53-46B8-B429-B1DC7CA9835B}" type="slidenum">
              <a:rPr lang="it-IT" smtClean="0"/>
              <a:pPr/>
              <a:t>‹N›</a:t>
            </a:fld>
            <a:endParaRPr lang="it-IT"/>
          </a:p>
        </p:txBody>
      </p:sp>
    </p:spTree>
    <p:extLst>
      <p:ext uri="{BB962C8B-B14F-4D97-AF65-F5344CB8AC3E}">
        <p14:creationId xmlns:p14="http://schemas.microsoft.com/office/powerpoint/2010/main" val="2310384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egnaposto immagine diapositiva 1"/>
          <p:cNvSpPr>
            <a:spLocks noGrp="1" noRot="1" noChangeAspect="1"/>
          </p:cNvSpPr>
          <p:nvPr>
            <p:ph type="sldImg"/>
          </p:nvPr>
        </p:nvSpPr>
        <p:spPr>
          <a:xfrm>
            <a:off x="1143000" y="685800"/>
            <a:ext cx="4572000" cy="3429000"/>
          </a:xfrm>
          <a:ln/>
        </p:spPr>
      </p:sp>
      <p:sp>
        <p:nvSpPr>
          <p:cNvPr id="20482" name="Segnaposto note 2"/>
          <p:cNvSpPr>
            <a:spLocks noGrp="1"/>
          </p:cNvSpPr>
          <p:nvPr>
            <p:ph type="body" idx="1"/>
          </p:nvPr>
        </p:nvSpPr>
        <p:spPr>
          <a:noFill/>
          <a:ln/>
        </p:spPr>
        <p:txBody>
          <a:bodyPr/>
          <a:lstStyle/>
          <a:p>
            <a:endParaRPr lang="it-IT" smtClean="0"/>
          </a:p>
        </p:txBody>
      </p:sp>
      <p:sp>
        <p:nvSpPr>
          <p:cNvPr id="20483" name="Segnaposto numero diapositiva 3"/>
          <p:cNvSpPr>
            <a:spLocks noGrp="1"/>
          </p:cNvSpPr>
          <p:nvPr>
            <p:ph type="sldNum" sz="quarter" idx="5"/>
          </p:nvPr>
        </p:nvSpPr>
        <p:spPr>
          <a:noFill/>
        </p:spPr>
        <p:txBody>
          <a:bodyPr/>
          <a:lstStyle/>
          <a:p>
            <a:pPr defTabSz="902699"/>
            <a:fld id="{849D7E3E-65FA-44BD-9ED2-69951587F243}" type="slidenum">
              <a:rPr lang="en-GB" smtClean="0"/>
              <a:pPr defTabSz="902699"/>
              <a:t>1</a:t>
            </a:fld>
            <a:endParaRPr lang="en-GB" smtClean="0"/>
          </a:p>
        </p:txBody>
      </p:sp>
    </p:spTree>
    <p:extLst>
      <p:ext uri="{BB962C8B-B14F-4D97-AF65-F5344CB8AC3E}">
        <p14:creationId xmlns:p14="http://schemas.microsoft.com/office/powerpoint/2010/main" val="31750738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egnaposto immagine diapositiva 1"/>
          <p:cNvSpPr>
            <a:spLocks noGrp="1" noRot="1" noChangeAspect="1"/>
          </p:cNvSpPr>
          <p:nvPr>
            <p:ph type="sldImg"/>
          </p:nvPr>
        </p:nvSpPr>
        <p:spPr>
          <a:ln/>
        </p:spPr>
      </p:sp>
      <p:sp>
        <p:nvSpPr>
          <p:cNvPr id="33794" name="Segnaposto note 2"/>
          <p:cNvSpPr>
            <a:spLocks noGrp="1"/>
          </p:cNvSpPr>
          <p:nvPr>
            <p:ph type="body" idx="1"/>
          </p:nvPr>
        </p:nvSpPr>
        <p:spPr>
          <a:noFill/>
          <a:ln/>
        </p:spPr>
        <p:txBody>
          <a:bodyPr/>
          <a:lstStyle/>
          <a:p>
            <a:endParaRPr lang="it-IT" smtClean="0"/>
          </a:p>
        </p:txBody>
      </p:sp>
      <p:sp>
        <p:nvSpPr>
          <p:cNvPr id="33795" name="Segnaposto numero diapositiva 3"/>
          <p:cNvSpPr>
            <a:spLocks noGrp="1"/>
          </p:cNvSpPr>
          <p:nvPr>
            <p:ph type="sldNum" sz="quarter" idx="5"/>
          </p:nvPr>
        </p:nvSpPr>
        <p:spPr>
          <a:noFill/>
        </p:spPr>
        <p:txBody>
          <a:bodyPr/>
          <a:lstStyle/>
          <a:p>
            <a:pPr defTabSz="977900"/>
            <a:fld id="{75B8384F-8735-4410-B801-D6CC57CD08A2}" type="slidenum">
              <a:rPr lang="en-GB" smtClean="0"/>
              <a:pPr defTabSz="977900"/>
              <a:t>11</a:t>
            </a:fld>
            <a:endParaRPr lang="en-GB" smtClean="0"/>
          </a:p>
        </p:txBody>
      </p:sp>
    </p:spTree>
    <p:extLst>
      <p:ext uri="{BB962C8B-B14F-4D97-AF65-F5344CB8AC3E}">
        <p14:creationId xmlns:p14="http://schemas.microsoft.com/office/powerpoint/2010/main" val="19899084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egnaposto immagine diapositiva 1"/>
          <p:cNvSpPr>
            <a:spLocks noGrp="1" noRot="1" noChangeAspect="1" noTextEdit="1"/>
          </p:cNvSpPr>
          <p:nvPr>
            <p:ph type="sldImg"/>
          </p:nvPr>
        </p:nvSpPr>
        <p:spPr>
          <a:xfrm>
            <a:off x="990600" y="777875"/>
            <a:ext cx="5116513" cy="3836988"/>
          </a:xfrm>
          <a:solidFill>
            <a:srgbClr val="5B9BD5"/>
          </a:solidFill>
          <a:ln w="12600">
            <a:solidFill>
              <a:srgbClr val="41719C"/>
            </a:solidFill>
          </a:ln>
        </p:spPr>
      </p:sp>
      <p:sp>
        <p:nvSpPr>
          <p:cNvPr id="40962" name="Segnaposto note 2"/>
          <p:cNvSpPr>
            <a:spLocks noGrp="1"/>
          </p:cNvSpPr>
          <p:nvPr>
            <p:ph type="body" sz="quarter" idx="1"/>
          </p:nvPr>
        </p:nvSpPr>
        <p:spPr>
          <a:noFill/>
          <a:ln/>
        </p:spPr>
        <p:txBody>
          <a:bodyPr/>
          <a:lstStyle/>
          <a:p>
            <a:r>
              <a:rPr lang="it-IT" b="1" smtClean="0"/>
              <a:t>1.Azione di feedback e di restituzione (Laboratorio) </a:t>
            </a:r>
            <a:r>
              <a:rPr lang="it-IT" smtClean="0"/>
              <a:t>agli attori coinvolti da parte della Regione degli avanzamenti conseguiti, </a:t>
            </a:r>
            <a:r>
              <a:rPr lang="it-IT" sz="1100" smtClean="0"/>
              <a:t>avvalendosi di una appropriata strategia comunicativa, per confermare la credibilità del processo e della sua conduzione</a:t>
            </a:r>
          </a:p>
          <a:p>
            <a:r>
              <a:rPr lang="it-IT" sz="1100" smtClean="0"/>
              <a:t>4.</a:t>
            </a:r>
            <a:r>
              <a:rPr lang="it-IT" sz="1100" b="1" smtClean="0"/>
              <a:t> Attività di Formalizzazione (con appositi strumenti) della condivisione </a:t>
            </a:r>
            <a:r>
              <a:rPr lang="it-IT" sz="1100" smtClean="0"/>
              <a:t>delle linee portanti della strategia e del piano  d’azione con gli attori rilevanti (a partire da EPR e università)</a:t>
            </a:r>
            <a:endParaRPr lang="it-IT" sz="1000" smtClean="0"/>
          </a:p>
          <a:p>
            <a:endParaRPr lang="it-IT" sz="1100" smtClean="0"/>
          </a:p>
          <a:p>
            <a:endParaRPr lang="it-IT" altLang="it-IT" smtClean="0"/>
          </a:p>
        </p:txBody>
      </p:sp>
    </p:spTree>
    <p:extLst>
      <p:ext uri="{BB962C8B-B14F-4D97-AF65-F5344CB8AC3E}">
        <p14:creationId xmlns:p14="http://schemas.microsoft.com/office/powerpoint/2010/main" val="8746440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a:defRPr/>
            </a:pPr>
            <a:fld id="{AAA6F22C-A626-425B-B3CE-FFB0711DC702}" type="slidenum">
              <a:rPr lang="en-GB" smtClean="0"/>
              <a:pPr>
                <a:defRPr/>
              </a:pPr>
              <a:t>18</a:t>
            </a:fld>
            <a:endParaRPr lang="en-GB"/>
          </a:p>
        </p:txBody>
      </p:sp>
    </p:spTree>
    <p:extLst>
      <p:ext uri="{BB962C8B-B14F-4D97-AF65-F5344CB8AC3E}">
        <p14:creationId xmlns:p14="http://schemas.microsoft.com/office/powerpoint/2010/main" val="2635028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a:defRPr/>
            </a:pPr>
            <a:fld id="{AAA6F22C-A626-425B-B3CE-FFB0711DC702}" type="slidenum">
              <a:rPr lang="en-GB" smtClean="0"/>
              <a:pPr>
                <a:defRPr/>
              </a:pPr>
              <a:t>19</a:t>
            </a:fld>
            <a:endParaRPr lang="en-GB"/>
          </a:p>
        </p:txBody>
      </p:sp>
    </p:spTree>
    <p:extLst>
      <p:ext uri="{BB962C8B-B14F-4D97-AF65-F5344CB8AC3E}">
        <p14:creationId xmlns:p14="http://schemas.microsoft.com/office/powerpoint/2010/main" val="8466983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a:defRPr/>
            </a:pPr>
            <a:fld id="{AAA6F22C-A626-425B-B3CE-FFB0711DC702}" type="slidenum">
              <a:rPr lang="en-GB" smtClean="0"/>
              <a:pPr>
                <a:defRPr/>
              </a:pPr>
              <a:t>35</a:t>
            </a:fld>
            <a:endParaRPr lang="en-GB"/>
          </a:p>
        </p:txBody>
      </p:sp>
    </p:spTree>
    <p:extLst>
      <p:ext uri="{BB962C8B-B14F-4D97-AF65-F5344CB8AC3E}">
        <p14:creationId xmlns:p14="http://schemas.microsoft.com/office/powerpoint/2010/main" val="15978377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a:defRPr/>
            </a:pPr>
            <a:fld id="{AAA6F22C-A626-425B-B3CE-FFB0711DC702}" type="slidenum">
              <a:rPr lang="en-GB" smtClean="0"/>
              <a:pPr>
                <a:defRPr/>
              </a:pPr>
              <a:t>36</a:t>
            </a:fld>
            <a:endParaRPr lang="en-GB"/>
          </a:p>
        </p:txBody>
      </p:sp>
    </p:spTree>
    <p:extLst>
      <p:ext uri="{BB962C8B-B14F-4D97-AF65-F5344CB8AC3E}">
        <p14:creationId xmlns:p14="http://schemas.microsoft.com/office/powerpoint/2010/main" val="3471446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23725208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13596478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41642015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2" name="Picture 49" descr="Logo-FORMEZ-PA-09032010"/>
          <p:cNvPicPr>
            <a:picLocks noChangeAspect="1" noChangeArrowheads="1"/>
          </p:cNvPicPr>
          <p:nvPr userDrawn="1"/>
        </p:nvPicPr>
        <p:blipFill>
          <a:blip r:embed="rId2" cstate="print"/>
          <a:srcRect/>
          <a:stretch>
            <a:fillRect/>
          </a:stretch>
        </p:blipFill>
        <p:spPr bwMode="auto">
          <a:xfrm>
            <a:off x="153866" y="6496050"/>
            <a:ext cx="971550" cy="361950"/>
          </a:xfrm>
          <a:prstGeom prst="rect">
            <a:avLst/>
          </a:prstGeom>
          <a:noFill/>
          <a:ln w="9525">
            <a:noFill/>
            <a:miter lim="800000"/>
            <a:headEnd/>
            <a:tailEnd/>
          </a:ln>
        </p:spPr>
      </p:pic>
      <p:pic>
        <p:nvPicPr>
          <p:cNvPr id="3" name="Picture 2" descr="POAT-LOGO-GENERALE-8"/>
          <p:cNvPicPr>
            <a:picLocks noChangeAspect="1" noChangeArrowheads="1"/>
          </p:cNvPicPr>
          <p:nvPr userDrawn="1"/>
        </p:nvPicPr>
        <p:blipFill>
          <a:blip r:embed="rId3" cstate="print"/>
          <a:srcRect/>
          <a:stretch>
            <a:fillRect/>
          </a:stretch>
        </p:blipFill>
        <p:spPr bwMode="auto">
          <a:xfrm>
            <a:off x="8546123" y="6357939"/>
            <a:ext cx="597877" cy="473075"/>
          </a:xfrm>
          <a:prstGeom prst="rect">
            <a:avLst/>
          </a:prstGeom>
          <a:noFill/>
          <a:ln w="9525">
            <a:noFill/>
            <a:miter lim="800000"/>
            <a:headEnd/>
            <a:tailEnd/>
          </a:ln>
        </p:spPr>
      </p:pic>
      <p:grpSp>
        <p:nvGrpSpPr>
          <p:cNvPr id="4" name="Gruppo 3"/>
          <p:cNvGrpSpPr>
            <a:grpSpLocks/>
          </p:cNvGrpSpPr>
          <p:nvPr userDrawn="1"/>
        </p:nvGrpSpPr>
        <p:grpSpPr bwMode="auto">
          <a:xfrm>
            <a:off x="8792" y="-19050"/>
            <a:ext cx="9144000" cy="646113"/>
            <a:chOff x="-37009" y="-36513"/>
            <a:chExt cx="9143999" cy="894344"/>
          </a:xfrm>
        </p:grpSpPr>
        <p:pic>
          <p:nvPicPr>
            <p:cNvPr id="5" name="Picture 2"/>
            <p:cNvPicPr>
              <a:picLocks noChangeAspect="1" noChangeArrowheads="1"/>
            </p:cNvPicPr>
            <p:nvPr/>
          </p:nvPicPr>
          <p:blipFill>
            <a:blip r:embed="rId4" cstate="print"/>
            <a:srcRect l="4688" t="21562" r="5663" b="66251"/>
            <a:stretch>
              <a:fillRect/>
            </a:stretch>
          </p:blipFill>
          <p:spPr bwMode="auto">
            <a:xfrm>
              <a:off x="-37009" y="0"/>
              <a:ext cx="9143999" cy="857831"/>
            </a:xfrm>
            <a:prstGeom prst="rect">
              <a:avLst/>
            </a:prstGeom>
            <a:noFill/>
            <a:ln w="9525">
              <a:noFill/>
              <a:miter lim="800000"/>
              <a:headEnd/>
              <a:tailEnd/>
            </a:ln>
          </p:spPr>
        </p:pic>
        <p:pic>
          <p:nvPicPr>
            <p:cNvPr id="6" name="Picture 5" descr="jaune"/>
            <p:cNvPicPr>
              <a:picLocks noChangeAspect="1" noChangeArrowheads="1"/>
            </p:cNvPicPr>
            <p:nvPr/>
          </p:nvPicPr>
          <p:blipFill>
            <a:blip r:embed="rId5" cstate="print"/>
            <a:srcRect/>
            <a:stretch>
              <a:fillRect/>
            </a:stretch>
          </p:blipFill>
          <p:spPr bwMode="auto">
            <a:xfrm>
              <a:off x="913731" y="0"/>
              <a:ext cx="800100" cy="546100"/>
            </a:xfrm>
            <a:prstGeom prst="rect">
              <a:avLst/>
            </a:prstGeom>
            <a:noFill/>
            <a:ln w="9525">
              <a:noFill/>
              <a:miter lim="800000"/>
              <a:headEnd/>
              <a:tailEnd/>
            </a:ln>
          </p:spPr>
        </p:pic>
        <p:pic>
          <p:nvPicPr>
            <p:cNvPr id="7" name="Picture 7" descr="stellone"/>
            <p:cNvPicPr>
              <a:picLocks noChangeAspect="1" noChangeArrowheads="1"/>
            </p:cNvPicPr>
            <p:nvPr/>
          </p:nvPicPr>
          <p:blipFill>
            <a:blip r:embed="rId6" cstate="print"/>
            <a:srcRect/>
            <a:stretch>
              <a:fillRect/>
            </a:stretch>
          </p:blipFill>
          <p:spPr bwMode="auto">
            <a:xfrm>
              <a:off x="1907704" y="-36513"/>
              <a:ext cx="533400" cy="619125"/>
            </a:xfrm>
            <a:prstGeom prst="rect">
              <a:avLst/>
            </a:prstGeom>
            <a:noFill/>
            <a:ln w="9525">
              <a:noFill/>
              <a:miter lim="800000"/>
              <a:headEnd/>
              <a:tailEnd/>
            </a:ln>
          </p:spPr>
        </p:pic>
        <p:pic>
          <p:nvPicPr>
            <p:cNvPr id="8" name="Picture 2" descr="Logo_POFesr"/>
            <p:cNvPicPr>
              <a:picLocks noChangeAspect="1" noChangeArrowheads="1"/>
            </p:cNvPicPr>
            <p:nvPr/>
          </p:nvPicPr>
          <p:blipFill>
            <a:blip r:embed="rId7" cstate="print"/>
            <a:srcRect/>
            <a:stretch>
              <a:fillRect/>
            </a:stretch>
          </p:blipFill>
          <p:spPr bwMode="auto">
            <a:xfrm>
              <a:off x="2627784" y="0"/>
              <a:ext cx="827088" cy="692150"/>
            </a:xfrm>
            <a:prstGeom prst="rect">
              <a:avLst/>
            </a:prstGeom>
            <a:noFill/>
            <a:ln w="9525">
              <a:noFill/>
              <a:miter lim="800000"/>
              <a:headEnd/>
              <a:tailEnd/>
            </a:ln>
          </p:spPr>
        </p:pic>
      </p:grpSp>
    </p:spTree>
    <p:extLst>
      <p:ext uri="{BB962C8B-B14F-4D97-AF65-F5344CB8AC3E}">
        <p14:creationId xmlns:p14="http://schemas.microsoft.com/office/powerpoint/2010/main" val="15107246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30666373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smtClean="0"/>
              <a:t>Fare clic per modificare stili del testo dello schema</a:t>
            </a:r>
          </a:p>
        </p:txBody>
      </p:sp>
      <p:sp>
        <p:nvSpPr>
          <p:cNvPr id="4" name="Segnaposto data 3"/>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1170375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4"/>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20312428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data 6"/>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42066157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data 2"/>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12974326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2030692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27690317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2234201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it-IT" smtClean="0"/>
              <a:t>Fare clic per modificare lo stile del titolo</a:t>
            </a:r>
            <a:endParaRPr lang="it-IT"/>
          </a:p>
        </p:txBody>
      </p:sp>
      <p:sp>
        <p:nvSpPr>
          <p:cNvPr id="3" name="Segnaposto tes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FCA0ED-0499-48B0-95F7-9A31C310A6B2}" type="datetimeFigureOut">
              <a:rPr lang="it-IT" smtClean="0"/>
              <a:pPr/>
              <a:t>10/05/2014</a:t>
            </a:fld>
            <a:endParaRPr lang="it-IT"/>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49D0DC-681A-4576-B520-D24EE24F01C4}" type="slidenum">
              <a:rPr lang="it-IT" smtClean="0"/>
              <a:pPr/>
              <a:t>‹N›</a:t>
            </a:fld>
            <a:endParaRPr lang="it-IT"/>
          </a:p>
        </p:txBody>
      </p:sp>
    </p:spTree>
    <p:extLst>
      <p:ext uri="{BB962C8B-B14F-4D97-AF65-F5344CB8AC3E}">
        <p14:creationId xmlns:p14="http://schemas.microsoft.com/office/powerpoint/2010/main" val="41480138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12.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20.xml"/><Relationship Id="rId13" Type="http://schemas.openxmlformats.org/officeDocument/2006/relationships/image" Target="../media/image10.wmf"/><Relationship Id="rId18" Type="http://schemas.microsoft.com/office/2007/relationships/diagramDrawing" Target="../diagrams/drawing21.xml"/><Relationship Id="rId3" Type="http://schemas.openxmlformats.org/officeDocument/2006/relationships/diagramData" Target="../diagrams/data19.xml"/><Relationship Id="rId21" Type="http://schemas.openxmlformats.org/officeDocument/2006/relationships/diagramQuickStyle" Target="../diagrams/quickStyle22.xml"/><Relationship Id="rId7" Type="http://schemas.microsoft.com/office/2007/relationships/diagramDrawing" Target="../diagrams/drawing19.xml"/><Relationship Id="rId12" Type="http://schemas.microsoft.com/office/2007/relationships/diagramDrawing" Target="../diagrams/drawing20.xml"/><Relationship Id="rId17" Type="http://schemas.openxmlformats.org/officeDocument/2006/relationships/diagramColors" Target="../diagrams/colors21.xml"/><Relationship Id="rId2" Type="http://schemas.openxmlformats.org/officeDocument/2006/relationships/notesSlide" Target="../notesSlides/notesSlide2.xml"/><Relationship Id="rId16" Type="http://schemas.openxmlformats.org/officeDocument/2006/relationships/diagramQuickStyle" Target="../diagrams/quickStyle21.xml"/><Relationship Id="rId20" Type="http://schemas.openxmlformats.org/officeDocument/2006/relationships/diagramLayout" Target="../diagrams/layout22.xml"/><Relationship Id="rId1" Type="http://schemas.openxmlformats.org/officeDocument/2006/relationships/slideLayout" Target="../slideLayouts/slideLayout12.xml"/><Relationship Id="rId6" Type="http://schemas.openxmlformats.org/officeDocument/2006/relationships/diagramColors" Target="../diagrams/colors19.xml"/><Relationship Id="rId11" Type="http://schemas.openxmlformats.org/officeDocument/2006/relationships/diagramColors" Target="../diagrams/colors20.xml"/><Relationship Id="rId5" Type="http://schemas.openxmlformats.org/officeDocument/2006/relationships/diagramQuickStyle" Target="../diagrams/quickStyle19.xml"/><Relationship Id="rId15" Type="http://schemas.openxmlformats.org/officeDocument/2006/relationships/diagramLayout" Target="../diagrams/layout21.xml"/><Relationship Id="rId23" Type="http://schemas.microsoft.com/office/2007/relationships/diagramDrawing" Target="../diagrams/drawing22.xml"/><Relationship Id="rId10" Type="http://schemas.openxmlformats.org/officeDocument/2006/relationships/diagramQuickStyle" Target="../diagrams/quickStyle20.xml"/><Relationship Id="rId19" Type="http://schemas.openxmlformats.org/officeDocument/2006/relationships/diagramData" Target="../diagrams/data22.xml"/><Relationship Id="rId4" Type="http://schemas.openxmlformats.org/officeDocument/2006/relationships/diagramLayout" Target="../diagrams/layout19.xml"/><Relationship Id="rId9" Type="http://schemas.openxmlformats.org/officeDocument/2006/relationships/diagramLayout" Target="../diagrams/layout20.xml"/><Relationship Id="rId14" Type="http://schemas.openxmlformats.org/officeDocument/2006/relationships/diagramData" Target="../diagrams/data21.xml"/><Relationship Id="rId22" Type="http://schemas.openxmlformats.org/officeDocument/2006/relationships/diagramColors" Target="../diagrams/colors22.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24.xml"/><Relationship Id="rId3" Type="http://schemas.openxmlformats.org/officeDocument/2006/relationships/diagramData" Target="../diagrams/data23.xml"/><Relationship Id="rId7" Type="http://schemas.microsoft.com/office/2007/relationships/diagramDrawing" Target="../diagrams/drawing23.xml"/><Relationship Id="rId12" Type="http://schemas.microsoft.com/office/2007/relationships/diagramDrawing" Target="../diagrams/drawing24.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diagramColors" Target="../diagrams/colors23.xml"/><Relationship Id="rId11" Type="http://schemas.openxmlformats.org/officeDocument/2006/relationships/diagramColors" Target="../diagrams/colors24.xml"/><Relationship Id="rId5" Type="http://schemas.openxmlformats.org/officeDocument/2006/relationships/diagramQuickStyle" Target="../diagrams/quickStyle23.xml"/><Relationship Id="rId10" Type="http://schemas.openxmlformats.org/officeDocument/2006/relationships/diagramQuickStyle" Target="../diagrams/quickStyle24.xml"/><Relationship Id="rId4" Type="http://schemas.openxmlformats.org/officeDocument/2006/relationships/diagramLayout" Target="../diagrams/layout23.xml"/><Relationship Id="rId9" Type="http://schemas.openxmlformats.org/officeDocument/2006/relationships/diagramLayout" Target="../diagrams/layout24.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25.xml"/><Relationship Id="rId2" Type="http://schemas.openxmlformats.org/officeDocument/2006/relationships/diagramData" Target="../diagrams/data25.xml"/><Relationship Id="rId1" Type="http://schemas.openxmlformats.org/officeDocument/2006/relationships/slideLayout" Target="../slideLayouts/slideLayout12.xml"/><Relationship Id="rId6" Type="http://schemas.microsoft.com/office/2007/relationships/diagramDrawing" Target="../diagrams/drawing25.xml"/><Relationship Id="rId5" Type="http://schemas.openxmlformats.org/officeDocument/2006/relationships/diagramColors" Target="../diagrams/colors25.xml"/><Relationship Id="rId4" Type="http://schemas.openxmlformats.org/officeDocument/2006/relationships/diagramQuickStyle" Target="../diagrams/quickStyle25.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6.xml"/><Relationship Id="rId2" Type="http://schemas.openxmlformats.org/officeDocument/2006/relationships/diagramData" Target="../diagrams/data26.xml"/><Relationship Id="rId1" Type="http://schemas.openxmlformats.org/officeDocument/2006/relationships/slideLayout" Target="../slideLayouts/slideLayout12.xml"/><Relationship Id="rId6" Type="http://schemas.microsoft.com/office/2007/relationships/diagramDrawing" Target="../diagrams/drawing26.xml"/><Relationship Id="rId5" Type="http://schemas.openxmlformats.org/officeDocument/2006/relationships/diagramColors" Target="../diagrams/colors26.xml"/><Relationship Id="rId4" Type="http://schemas.openxmlformats.org/officeDocument/2006/relationships/diagramQuickStyle" Target="../diagrams/quickStyle26.xml"/></Relationships>
</file>

<file path=ppt/slides/_rels/slide15.xml.rels><?xml version="1.0" encoding="UTF-8" standalone="yes"?>
<Relationships xmlns="http://schemas.openxmlformats.org/package/2006/relationships"><Relationship Id="rId8" Type="http://schemas.openxmlformats.org/officeDocument/2006/relationships/diagramLayout" Target="../diagrams/layout28.xml"/><Relationship Id="rId3" Type="http://schemas.openxmlformats.org/officeDocument/2006/relationships/diagramLayout" Target="../diagrams/layout27.xml"/><Relationship Id="rId7" Type="http://schemas.openxmlformats.org/officeDocument/2006/relationships/diagramData" Target="../diagrams/data28.xml"/><Relationship Id="rId2" Type="http://schemas.openxmlformats.org/officeDocument/2006/relationships/diagramData" Target="../diagrams/data27.xml"/><Relationship Id="rId1" Type="http://schemas.openxmlformats.org/officeDocument/2006/relationships/slideLayout" Target="../slideLayouts/slideLayout12.xml"/><Relationship Id="rId6" Type="http://schemas.microsoft.com/office/2007/relationships/diagramDrawing" Target="../diagrams/drawing27.xml"/><Relationship Id="rId11" Type="http://schemas.microsoft.com/office/2007/relationships/diagramDrawing" Target="../diagrams/drawing28.xml"/><Relationship Id="rId5" Type="http://schemas.openxmlformats.org/officeDocument/2006/relationships/diagramColors" Target="../diagrams/colors27.xml"/><Relationship Id="rId10" Type="http://schemas.openxmlformats.org/officeDocument/2006/relationships/diagramColors" Target="../diagrams/colors28.xml"/><Relationship Id="rId4" Type="http://schemas.openxmlformats.org/officeDocument/2006/relationships/diagramQuickStyle" Target="../diagrams/quickStyle27.xml"/><Relationship Id="rId9" Type="http://schemas.openxmlformats.org/officeDocument/2006/relationships/diagramQuickStyle" Target="../diagrams/quickStyle28.xml"/></Relationships>
</file>

<file path=ppt/slides/_rels/slide16.xml.rels><?xml version="1.0" encoding="UTF-8" standalone="yes"?>
<Relationships xmlns="http://schemas.openxmlformats.org/package/2006/relationships"><Relationship Id="rId8" Type="http://schemas.openxmlformats.org/officeDocument/2006/relationships/diagramLayout" Target="../diagrams/layout30.xml"/><Relationship Id="rId13" Type="http://schemas.openxmlformats.org/officeDocument/2006/relationships/diagramLayout" Target="../diagrams/layout31.xml"/><Relationship Id="rId18" Type="http://schemas.openxmlformats.org/officeDocument/2006/relationships/diagramLayout" Target="../diagrams/layout32.xml"/><Relationship Id="rId3" Type="http://schemas.openxmlformats.org/officeDocument/2006/relationships/diagramLayout" Target="../diagrams/layout29.xml"/><Relationship Id="rId21" Type="http://schemas.microsoft.com/office/2007/relationships/diagramDrawing" Target="../diagrams/drawing32.xml"/><Relationship Id="rId7" Type="http://schemas.openxmlformats.org/officeDocument/2006/relationships/diagramData" Target="../diagrams/data30.xml"/><Relationship Id="rId12" Type="http://schemas.openxmlformats.org/officeDocument/2006/relationships/diagramData" Target="../diagrams/data31.xml"/><Relationship Id="rId17" Type="http://schemas.openxmlformats.org/officeDocument/2006/relationships/diagramData" Target="../diagrams/data32.xml"/><Relationship Id="rId2" Type="http://schemas.openxmlformats.org/officeDocument/2006/relationships/diagramData" Target="../diagrams/data29.xml"/><Relationship Id="rId16" Type="http://schemas.microsoft.com/office/2007/relationships/diagramDrawing" Target="../diagrams/drawing31.xml"/><Relationship Id="rId20" Type="http://schemas.openxmlformats.org/officeDocument/2006/relationships/diagramColors" Target="../diagrams/colors32.xml"/><Relationship Id="rId1" Type="http://schemas.openxmlformats.org/officeDocument/2006/relationships/slideLayout" Target="../slideLayouts/slideLayout12.xml"/><Relationship Id="rId6" Type="http://schemas.microsoft.com/office/2007/relationships/diagramDrawing" Target="../diagrams/drawing29.xml"/><Relationship Id="rId11" Type="http://schemas.microsoft.com/office/2007/relationships/diagramDrawing" Target="../diagrams/drawing30.xml"/><Relationship Id="rId5" Type="http://schemas.openxmlformats.org/officeDocument/2006/relationships/diagramColors" Target="../diagrams/colors29.xml"/><Relationship Id="rId15" Type="http://schemas.openxmlformats.org/officeDocument/2006/relationships/diagramColors" Target="../diagrams/colors31.xml"/><Relationship Id="rId10" Type="http://schemas.openxmlformats.org/officeDocument/2006/relationships/diagramColors" Target="../diagrams/colors30.xml"/><Relationship Id="rId19" Type="http://schemas.openxmlformats.org/officeDocument/2006/relationships/diagramQuickStyle" Target="../diagrams/quickStyle32.xml"/><Relationship Id="rId4" Type="http://schemas.openxmlformats.org/officeDocument/2006/relationships/diagramQuickStyle" Target="../diagrams/quickStyle29.xml"/><Relationship Id="rId9" Type="http://schemas.openxmlformats.org/officeDocument/2006/relationships/diagramQuickStyle" Target="../diagrams/quickStyle30.xml"/><Relationship Id="rId14" Type="http://schemas.openxmlformats.org/officeDocument/2006/relationships/diagramQuickStyle" Target="../diagrams/quickStyle31.xml"/></Relationships>
</file>

<file path=ppt/slides/_rels/slide17.xml.rels><?xml version="1.0" encoding="UTF-8" standalone="yes"?>
<Relationships xmlns="http://schemas.openxmlformats.org/package/2006/relationships"><Relationship Id="rId13" Type="http://schemas.openxmlformats.org/officeDocument/2006/relationships/diagramLayout" Target="../diagrams/layout35.xml"/><Relationship Id="rId18" Type="http://schemas.openxmlformats.org/officeDocument/2006/relationships/diagramLayout" Target="../diagrams/layout36.xml"/><Relationship Id="rId26" Type="http://schemas.microsoft.com/office/2007/relationships/diagramDrawing" Target="../diagrams/drawing37.xml"/><Relationship Id="rId39" Type="http://schemas.openxmlformats.org/officeDocument/2006/relationships/diagramQuickStyle" Target="../diagrams/quickStyle40.xml"/><Relationship Id="rId3" Type="http://schemas.openxmlformats.org/officeDocument/2006/relationships/diagramLayout" Target="../diagrams/layout33.xml"/><Relationship Id="rId21" Type="http://schemas.microsoft.com/office/2007/relationships/diagramDrawing" Target="../diagrams/drawing36.xml"/><Relationship Id="rId34" Type="http://schemas.openxmlformats.org/officeDocument/2006/relationships/diagramQuickStyle" Target="../diagrams/quickStyle39.xml"/><Relationship Id="rId42" Type="http://schemas.openxmlformats.org/officeDocument/2006/relationships/diagramData" Target="../diagrams/data41.xml"/><Relationship Id="rId47" Type="http://schemas.openxmlformats.org/officeDocument/2006/relationships/diagramData" Target="../diagrams/data42.xml"/><Relationship Id="rId50" Type="http://schemas.openxmlformats.org/officeDocument/2006/relationships/diagramColors" Target="../diagrams/colors42.xml"/><Relationship Id="rId7" Type="http://schemas.openxmlformats.org/officeDocument/2006/relationships/diagramData" Target="../diagrams/data34.xml"/><Relationship Id="rId12" Type="http://schemas.openxmlformats.org/officeDocument/2006/relationships/diagramData" Target="../diagrams/data35.xml"/><Relationship Id="rId17" Type="http://schemas.openxmlformats.org/officeDocument/2006/relationships/diagramData" Target="../diagrams/data36.xml"/><Relationship Id="rId25" Type="http://schemas.openxmlformats.org/officeDocument/2006/relationships/diagramColors" Target="../diagrams/colors37.xml"/><Relationship Id="rId33" Type="http://schemas.openxmlformats.org/officeDocument/2006/relationships/diagramLayout" Target="../diagrams/layout39.xml"/><Relationship Id="rId38" Type="http://schemas.openxmlformats.org/officeDocument/2006/relationships/diagramLayout" Target="../diagrams/layout40.xml"/><Relationship Id="rId46" Type="http://schemas.microsoft.com/office/2007/relationships/diagramDrawing" Target="../diagrams/drawing41.xml"/><Relationship Id="rId2" Type="http://schemas.openxmlformats.org/officeDocument/2006/relationships/diagramData" Target="../diagrams/data33.xml"/><Relationship Id="rId16" Type="http://schemas.microsoft.com/office/2007/relationships/diagramDrawing" Target="../diagrams/drawing35.xml"/><Relationship Id="rId20" Type="http://schemas.openxmlformats.org/officeDocument/2006/relationships/diagramColors" Target="../diagrams/colors36.xml"/><Relationship Id="rId29" Type="http://schemas.openxmlformats.org/officeDocument/2006/relationships/diagramQuickStyle" Target="../diagrams/quickStyle38.xml"/><Relationship Id="rId41" Type="http://schemas.microsoft.com/office/2007/relationships/diagramDrawing" Target="../diagrams/drawing40.xml"/><Relationship Id="rId1" Type="http://schemas.openxmlformats.org/officeDocument/2006/relationships/slideLayout" Target="../slideLayouts/slideLayout12.xml"/><Relationship Id="rId6" Type="http://schemas.microsoft.com/office/2007/relationships/diagramDrawing" Target="../diagrams/drawing33.xml"/><Relationship Id="rId11" Type="http://schemas.microsoft.com/office/2007/relationships/diagramDrawing" Target="../diagrams/drawing34.xml"/><Relationship Id="rId24" Type="http://schemas.openxmlformats.org/officeDocument/2006/relationships/diagramQuickStyle" Target="../diagrams/quickStyle37.xml"/><Relationship Id="rId32" Type="http://schemas.openxmlformats.org/officeDocument/2006/relationships/diagramData" Target="../diagrams/data39.xml"/><Relationship Id="rId37" Type="http://schemas.openxmlformats.org/officeDocument/2006/relationships/diagramData" Target="../diagrams/data40.xml"/><Relationship Id="rId40" Type="http://schemas.openxmlformats.org/officeDocument/2006/relationships/diagramColors" Target="../diagrams/colors40.xml"/><Relationship Id="rId45" Type="http://schemas.openxmlformats.org/officeDocument/2006/relationships/diagramColors" Target="../diagrams/colors41.xml"/><Relationship Id="rId5" Type="http://schemas.openxmlformats.org/officeDocument/2006/relationships/diagramColors" Target="../diagrams/colors33.xml"/><Relationship Id="rId15" Type="http://schemas.openxmlformats.org/officeDocument/2006/relationships/diagramColors" Target="../diagrams/colors35.xml"/><Relationship Id="rId23" Type="http://schemas.openxmlformats.org/officeDocument/2006/relationships/diagramLayout" Target="../diagrams/layout37.xml"/><Relationship Id="rId28" Type="http://schemas.openxmlformats.org/officeDocument/2006/relationships/diagramLayout" Target="../diagrams/layout38.xml"/><Relationship Id="rId36" Type="http://schemas.microsoft.com/office/2007/relationships/diagramDrawing" Target="../diagrams/drawing39.xml"/><Relationship Id="rId49" Type="http://schemas.openxmlformats.org/officeDocument/2006/relationships/diagramQuickStyle" Target="../diagrams/quickStyle42.xml"/><Relationship Id="rId10" Type="http://schemas.openxmlformats.org/officeDocument/2006/relationships/diagramColors" Target="../diagrams/colors34.xml"/><Relationship Id="rId19" Type="http://schemas.openxmlformats.org/officeDocument/2006/relationships/diagramQuickStyle" Target="../diagrams/quickStyle36.xml"/><Relationship Id="rId31" Type="http://schemas.microsoft.com/office/2007/relationships/diagramDrawing" Target="../diagrams/drawing38.xml"/><Relationship Id="rId44" Type="http://schemas.openxmlformats.org/officeDocument/2006/relationships/diagramQuickStyle" Target="../diagrams/quickStyle41.xml"/><Relationship Id="rId4" Type="http://schemas.openxmlformats.org/officeDocument/2006/relationships/diagramQuickStyle" Target="../diagrams/quickStyle33.xml"/><Relationship Id="rId9" Type="http://schemas.openxmlformats.org/officeDocument/2006/relationships/diagramQuickStyle" Target="../diagrams/quickStyle34.xml"/><Relationship Id="rId14" Type="http://schemas.openxmlformats.org/officeDocument/2006/relationships/diagramQuickStyle" Target="../diagrams/quickStyle35.xml"/><Relationship Id="rId22" Type="http://schemas.openxmlformats.org/officeDocument/2006/relationships/diagramData" Target="../diagrams/data37.xml"/><Relationship Id="rId27" Type="http://schemas.openxmlformats.org/officeDocument/2006/relationships/diagramData" Target="../diagrams/data38.xml"/><Relationship Id="rId30" Type="http://schemas.openxmlformats.org/officeDocument/2006/relationships/diagramColors" Target="../diagrams/colors38.xml"/><Relationship Id="rId35" Type="http://schemas.openxmlformats.org/officeDocument/2006/relationships/diagramColors" Target="../diagrams/colors39.xml"/><Relationship Id="rId43" Type="http://schemas.openxmlformats.org/officeDocument/2006/relationships/diagramLayout" Target="../diagrams/layout41.xml"/><Relationship Id="rId48" Type="http://schemas.openxmlformats.org/officeDocument/2006/relationships/diagramLayout" Target="../diagrams/layout42.xml"/><Relationship Id="rId8" Type="http://schemas.openxmlformats.org/officeDocument/2006/relationships/diagramLayout" Target="../diagrams/layout34.xml"/><Relationship Id="rId51" Type="http://schemas.microsoft.com/office/2007/relationships/diagramDrawing" Target="../diagrams/drawing42.xml"/></Relationships>
</file>

<file path=ppt/slides/_rels/slide18.xml.rels><?xml version="1.0" encoding="UTF-8" standalone="yes"?>
<Relationships xmlns="http://schemas.openxmlformats.org/package/2006/relationships"><Relationship Id="rId13" Type="http://schemas.openxmlformats.org/officeDocument/2006/relationships/diagramLayout" Target="../diagrams/layout44.xml"/><Relationship Id="rId18" Type="http://schemas.openxmlformats.org/officeDocument/2006/relationships/diagramLayout" Target="../diagrams/layout45.xml"/><Relationship Id="rId26" Type="http://schemas.microsoft.com/office/2007/relationships/diagramDrawing" Target="../diagrams/drawing46.xml"/><Relationship Id="rId39" Type="http://schemas.openxmlformats.org/officeDocument/2006/relationships/diagramQuickStyle" Target="../diagrams/quickStyle49.xml"/><Relationship Id="rId21" Type="http://schemas.microsoft.com/office/2007/relationships/diagramDrawing" Target="../diagrams/drawing45.xml"/><Relationship Id="rId34" Type="http://schemas.openxmlformats.org/officeDocument/2006/relationships/diagramQuickStyle" Target="../diagrams/quickStyle48.xml"/><Relationship Id="rId42" Type="http://schemas.openxmlformats.org/officeDocument/2006/relationships/diagramData" Target="../diagrams/data50.xml"/><Relationship Id="rId47" Type="http://schemas.openxmlformats.org/officeDocument/2006/relationships/diagramData" Target="../diagrams/data51.xml"/><Relationship Id="rId50" Type="http://schemas.openxmlformats.org/officeDocument/2006/relationships/diagramColors" Target="../diagrams/colors51.xml"/><Relationship Id="rId55" Type="http://schemas.openxmlformats.org/officeDocument/2006/relationships/diagramColors" Target="../diagrams/colors52.xml"/><Relationship Id="rId63" Type="http://schemas.openxmlformats.org/officeDocument/2006/relationships/diagramLayout" Target="../diagrams/layout54.xml"/><Relationship Id="rId68" Type="http://schemas.openxmlformats.org/officeDocument/2006/relationships/diagramLayout" Target="../diagrams/layout55.xml"/><Relationship Id="rId76" Type="http://schemas.microsoft.com/office/2007/relationships/diagramDrawing" Target="../diagrams/drawing56.xml"/><Relationship Id="rId84" Type="http://schemas.openxmlformats.org/officeDocument/2006/relationships/diagramQuickStyle" Target="../diagrams/quickStyle58.xml"/><Relationship Id="rId7" Type="http://schemas.openxmlformats.org/officeDocument/2006/relationships/diagramData" Target="../diagrams/data43.xml"/><Relationship Id="rId71" Type="http://schemas.microsoft.com/office/2007/relationships/diagramDrawing" Target="../diagrams/drawing55.xml"/><Relationship Id="rId2" Type="http://schemas.openxmlformats.org/officeDocument/2006/relationships/notesSlide" Target="../notesSlides/notesSlide4.xml"/><Relationship Id="rId16" Type="http://schemas.microsoft.com/office/2007/relationships/diagramDrawing" Target="../diagrams/drawing44.xml"/><Relationship Id="rId29" Type="http://schemas.openxmlformats.org/officeDocument/2006/relationships/diagramQuickStyle" Target="../diagrams/quickStyle47.xml"/><Relationship Id="rId11" Type="http://schemas.microsoft.com/office/2007/relationships/diagramDrawing" Target="../diagrams/drawing43.xml"/><Relationship Id="rId24" Type="http://schemas.openxmlformats.org/officeDocument/2006/relationships/diagramQuickStyle" Target="../diagrams/quickStyle46.xml"/><Relationship Id="rId32" Type="http://schemas.openxmlformats.org/officeDocument/2006/relationships/diagramData" Target="../diagrams/data48.xml"/><Relationship Id="rId37" Type="http://schemas.openxmlformats.org/officeDocument/2006/relationships/diagramData" Target="../diagrams/data49.xml"/><Relationship Id="rId40" Type="http://schemas.openxmlformats.org/officeDocument/2006/relationships/diagramColors" Target="../diagrams/colors49.xml"/><Relationship Id="rId45" Type="http://schemas.openxmlformats.org/officeDocument/2006/relationships/diagramColors" Target="../diagrams/colors50.xml"/><Relationship Id="rId53" Type="http://schemas.openxmlformats.org/officeDocument/2006/relationships/diagramLayout" Target="../diagrams/layout52.xml"/><Relationship Id="rId58" Type="http://schemas.openxmlformats.org/officeDocument/2006/relationships/diagramLayout" Target="../diagrams/layout53.xml"/><Relationship Id="rId66" Type="http://schemas.microsoft.com/office/2007/relationships/diagramDrawing" Target="../diagrams/drawing54.xml"/><Relationship Id="rId74" Type="http://schemas.openxmlformats.org/officeDocument/2006/relationships/diagramQuickStyle" Target="../diagrams/quickStyle56.xml"/><Relationship Id="rId79" Type="http://schemas.openxmlformats.org/officeDocument/2006/relationships/diagramQuickStyle" Target="../diagrams/quickStyle57.xml"/><Relationship Id="rId5" Type="http://schemas.openxmlformats.org/officeDocument/2006/relationships/image" Target="../media/image5.png"/><Relationship Id="rId61" Type="http://schemas.microsoft.com/office/2007/relationships/diagramDrawing" Target="../diagrams/drawing53.xml"/><Relationship Id="rId82" Type="http://schemas.openxmlformats.org/officeDocument/2006/relationships/diagramData" Target="../diagrams/data58.xml"/><Relationship Id="rId19" Type="http://schemas.openxmlformats.org/officeDocument/2006/relationships/diagramQuickStyle" Target="../diagrams/quickStyle45.xml"/><Relationship Id="rId4" Type="http://schemas.openxmlformats.org/officeDocument/2006/relationships/image" Target="../media/image16.jpeg"/><Relationship Id="rId9" Type="http://schemas.openxmlformats.org/officeDocument/2006/relationships/diagramQuickStyle" Target="../diagrams/quickStyle43.xml"/><Relationship Id="rId14" Type="http://schemas.openxmlformats.org/officeDocument/2006/relationships/diagramQuickStyle" Target="../diagrams/quickStyle44.xml"/><Relationship Id="rId22" Type="http://schemas.openxmlformats.org/officeDocument/2006/relationships/diagramData" Target="../diagrams/data46.xml"/><Relationship Id="rId27" Type="http://schemas.openxmlformats.org/officeDocument/2006/relationships/diagramData" Target="../diagrams/data47.xml"/><Relationship Id="rId30" Type="http://schemas.openxmlformats.org/officeDocument/2006/relationships/diagramColors" Target="../diagrams/colors47.xml"/><Relationship Id="rId35" Type="http://schemas.openxmlformats.org/officeDocument/2006/relationships/diagramColors" Target="../diagrams/colors48.xml"/><Relationship Id="rId43" Type="http://schemas.openxmlformats.org/officeDocument/2006/relationships/diagramLayout" Target="../diagrams/layout50.xml"/><Relationship Id="rId48" Type="http://schemas.openxmlformats.org/officeDocument/2006/relationships/diagramLayout" Target="../diagrams/layout51.xml"/><Relationship Id="rId56" Type="http://schemas.microsoft.com/office/2007/relationships/diagramDrawing" Target="../diagrams/drawing52.xml"/><Relationship Id="rId64" Type="http://schemas.openxmlformats.org/officeDocument/2006/relationships/diagramQuickStyle" Target="../diagrams/quickStyle54.xml"/><Relationship Id="rId69" Type="http://schemas.openxmlformats.org/officeDocument/2006/relationships/diagramQuickStyle" Target="../diagrams/quickStyle55.xml"/><Relationship Id="rId77" Type="http://schemas.openxmlformats.org/officeDocument/2006/relationships/diagramData" Target="../diagrams/data57.xml"/><Relationship Id="rId8" Type="http://schemas.openxmlformats.org/officeDocument/2006/relationships/diagramLayout" Target="../diagrams/layout43.xml"/><Relationship Id="rId51" Type="http://schemas.microsoft.com/office/2007/relationships/diagramDrawing" Target="../diagrams/drawing51.xml"/><Relationship Id="rId72" Type="http://schemas.openxmlformats.org/officeDocument/2006/relationships/diagramData" Target="../diagrams/data56.xml"/><Relationship Id="rId80" Type="http://schemas.openxmlformats.org/officeDocument/2006/relationships/diagramColors" Target="../diagrams/colors57.xml"/><Relationship Id="rId85" Type="http://schemas.openxmlformats.org/officeDocument/2006/relationships/diagramColors" Target="../diagrams/colors58.xml"/><Relationship Id="rId3" Type="http://schemas.openxmlformats.org/officeDocument/2006/relationships/image" Target="../media/image3.png"/><Relationship Id="rId12" Type="http://schemas.openxmlformats.org/officeDocument/2006/relationships/diagramData" Target="../diagrams/data44.xml"/><Relationship Id="rId17" Type="http://schemas.openxmlformats.org/officeDocument/2006/relationships/diagramData" Target="../diagrams/data45.xml"/><Relationship Id="rId25" Type="http://schemas.openxmlformats.org/officeDocument/2006/relationships/diagramColors" Target="../diagrams/colors46.xml"/><Relationship Id="rId33" Type="http://schemas.openxmlformats.org/officeDocument/2006/relationships/diagramLayout" Target="../diagrams/layout48.xml"/><Relationship Id="rId38" Type="http://schemas.openxmlformats.org/officeDocument/2006/relationships/diagramLayout" Target="../diagrams/layout49.xml"/><Relationship Id="rId46" Type="http://schemas.microsoft.com/office/2007/relationships/diagramDrawing" Target="../diagrams/drawing50.xml"/><Relationship Id="rId59" Type="http://schemas.openxmlformats.org/officeDocument/2006/relationships/diagramQuickStyle" Target="../diagrams/quickStyle53.xml"/><Relationship Id="rId67" Type="http://schemas.openxmlformats.org/officeDocument/2006/relationships/diagramData" Target="../diagrams/data55.xml"/><Relationship Id="rId20" Type="http://schemas.openxmlformats.org/officeDocument/2006/relationships/diagramColors" Target="../diagrams/colors45.xml"/><Relationship Id="rId41" Type="http://schemas.microsoft.com/office/2007/relationships/diagramDrawing" Target="../diagrams/drawing49.xml"/><Relationship Id="rId54" Type="http://schemas.openxmlformats.org/officeDocument/2006/relationships/diagramQuickStyle" Target="../diagrams/quickStyle52.xml"/><Relationship Id="rId62" Type="http://schemas.openxmlformats.org/officeDocument/2006/relationships/diagramData" Target="../diagrams/data54.xml"/><Relationship Id="rId70" Type="http://schemas.openxmlformats.org/officeDocument/2006/relationships/diagramColors" Target="../diagrams/colors55.xml"/><Relationship Id="rId75" Type="http://schemas.openxmlformats.org/officeDocument/2006/relationships/diagramColors" Target="../diagrams/colors56.xml"/><Relationship Id="rId83" Type="http://schemas.openxmlformats.org/officeDocument/2006/relationships/diagramLayout" Target="../diagrams/layout58.xml"/><Relationship Id="rId1" Type="http://schemas.openxmlformats.org/officeDocument/2006/relationships/slideLayout" Target="../slideLayouts/slideLayout12.xml"/><Relationship Id="rId6" Type="http://schemas.openxmlformats.org/officeDocument/2006/relationships/image" Target="../media/image6.jpeg"/><Relationship Id="rId15" Type="http://schemas.openxmlformats.org/officeDocument/2006/relationships/diagramColors" Target="../diagrams/colors44.xml"/><Relationship Id="rId23" Type="http://schemas.openxmlformats.org/officeDocument/2006/relationships/diagramLayout" Target="../diagrams/layout46.xml"/><Relationship Id="rId28" Type="http://schemas.openxmlformats.org/officeDocument/2006/relationships/diagramLayout" Target="../diagrams/layout47.xml"/><Relationship Id="rId36" Type="http://schemas.microsoft.com/office/2007/relationships/diagramDrawing" Target="../diagrams/drawing48.xml"/><Relationship Id="rId49" Type="http://schemas.openxmlformats.org/officeDocument/2006/relationships/diagramQuickStyle" Target="../diagrams/quickStyle51.xml"/><Relationship Id="rId57" Type="http://schemas.openxmlformats.org/officeDocument/2006/relationships/diagramData" Target="../diagrams/data53.xml"/><Relationship Id="rId10" Type="http://schemas.openxmlformats.org/officeDocument/2006/relationships/diagramColors" Target="../diagrams/colors43.xml"/><Relationship Id="rId31" Type="http://schemas.microsoft.com/office/2007/relationships/diagramDrawing" Target="../diagrams/drawing47.xml"/><Relationship Id="rId44" Type="http://schemas.openxmlformats.org/officeDocument/2006/relationships/diagramQuickStyle" Target="../diagrams/quickStyle50.xml"/><Relationship Id="rId52" Type="http://schemas.openxmlformats.org/officeDocument/2006/relationships/diagramData" Target="../diagrams/data52.xml"/><Relationship Id="rId60" Type="http://schemas.openxmlformats.org/officeDocument/2006/relationships/diagramColors" Target="../diagrams/colors53.xml"/><Relationship Id="rId65" Type="http://schemas.openxmlformats.org/officeDocument/2006/relationships/diagramColors" Target="../diagrams/colors54.xml"/><Relationship Id="rId73" Type="http://schemas.openxmlformats.org/officeDocument/2006/relationships/diagramLayout" Target="../diagrams/layout56.xml"/><Relationship Id="rId78" Type="http://schemas.openxmlformats.org/officeDocument/2006/relationships/diagramLayout" Target="../diagrams/layout57.xml"/><Relationship Id="rId81" Type="http://schemas.microsoft.com/office/2007/relationships/diagramDrawing" Target="../diagrams/drawing57.xml"/><Relationship Id="rId86" Type="http://schemas.microsoft.com/office/2007/relationships/diagramDrawing" Target="../diagrams/drawing58.xml"/></Relationships>
</file>

<file path=ppt/slides/_rels/slide19.xml.rels><?xml version="1.0" encoding="UTF-8" standalone="yes"?>
<Relationships xmlns="http://schemas.openxmlformats.org/package/2006/relationships"><Relationship Id="rId8" Type="http://schemas.microsoft.com/office/2007/relationships/diagramDrawing" Target="../diagrams/drawing59.xml"/><Relationship Id="rId13" Type="http://schemas.microsoft.com/office/2007/relationships/diagramDrawing" Target="../diagrams/drawing60.xml"/><Relationship Id="rId3" Type="http://schemas.openxmlformats.org/officeDocument/2006/relationships/image" Target="../media/image17.png"/><Relationship Id="rId7" Type="http://schemas.openxmlformats.org/officeDocument/2006/relationships/diagramColors" Target="../diagrams/colors59.xml"/><Relationship Id="rId12" Type="http://schemas.openxmlformats.org/officeDocument/2006/relationships/diagramColors" Target="../diagrams/colors60.xml"/><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diagramQuickStyle" Target="../diagrams/quickStyle59.xml"/><Relationship Id="rId11" Type="http://schemas.openxmlformats.org/officeDocument/2006/relationships/diagramQuickStyle" Target="../diagrams/quickStyle60.xml"/><Relationship Id="rId5" Type="http://schemas.openxmlformats.org/officeDocument/2006/relationships/diagramLayout" Target="../diagrams/layout59.xml"/><Relationship Id="rId10" Type="http://schemas.openxmlformats.org/officeDocument/2006/relationships/diagramLayout" Target="../diagrams/layout60.xml"/><Relationship Id="rId4" Type="http://schemas.openxmlformats.org/officeDocument/2006/relationships/diagramData" Target="../diagrams/data59.xml"/><Relationship Id="rId9" Type="http://schemas.openxmlformats.org/officeDocument/2006/relationships/diagramData" Target="../diagrams/data60.xml"/></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62.xml"/><Relationship Id="rId13" Type="http://schemas.openxmlformats.org/officeDocument/2006/relationships/diagramLayout" Target="../diagrams/layout63.xml"/><Relationship Id="rId18" Type="http://schemas.openxmlformats.org/officeDocument/2006/relationships/diagramLayout" Target="../diagrams/layout64.xml"/><Relationship Id="rId3" Type="http://schemas.openxmlformats.org/officeDocument/2006/relationships/diagramLayout" Target="../diagrams/layout61.xml"/><Relationship Id="rId21" Type="http://schemas.microsoft.com/office/2007/relationships/diagramDrawing" Target="../diagrams/drawing64.xml"/><Relationship Id="rId7" Type="http://schemas.openxmlformats.org/officeDocument/2006/relationships/diagramData" Target="../diagrams/data62.xml"/><Relationship Id="rId12" Type="http://schemas.openxmlformats.org/officeDocument/2006/relationships/diagramData" Target="../diagrams/data63.xml"/><Relationship Id="rId17" Type="http://schemas.openxmlformats.org/officeDocument/2006/relationships/diagramData" Target="../diagrams/data64.xml"/><Relationship Id="rId2" Type="http://schemas.openxmlformats.org/officeDocument/2006/relationships/diagramData" Target="../diagrams/data61.xml"/><Relationship Id="rId16" Type="http://schemas.microsoft.com/office/2007/relationships/diagramDrawing" Target="../diagrams/drawing63.xml"/><Relationship Id="rId20" Type="http://schemas.openxmlformats.org/officeDocument/2006/relationships/diagramColors" Target="../diagrams/colors64.xml"/><Relationship Id="rId1" Type="http://schemas.openxmlformats.org/officeDocument/2006/relationships/slideLayout" Target="../slideLayouts/slideLayout12.xml"/><Relationship Id="rId6" Type="http://schemas.microsoft.com/office/2007/relationships/diagramDrawing" Target="../diagrams/drawing61.xml"/><Relationship Id="rId11" Type="http://schemas.microsoft.com/office/2007/relationships/diagramDrawing" Target="../diagrams/drawing62.xml"/><Relationship Id="rId5" Type="http://schemas.openxmlformats.org/officeDocument/2006/relationships/diagramColors" Target="../diagrams/colors61.xml"/><Relationship Id="rId15" Type="http://schemas.openxmlformats.org/officeDocument/2006/relationships/diagramColors" Target="../diagrams/colors63.xml"/><Relationship Id="rId10" Type="http://schemas.openxmlformats.org/officeDocument/2006/relationships/diagramColors" Target="../diagrams/colors62.xml"/><Relationship Id="rId19" Type="http://schemas.openxmlformats.org/officeDocument/2006/relationships/diagramQuickStyle" Target="../diagrams/quickStyle64.xml"/><Relationship Id="rId4" Type="http://schemas.openxmlformats.org/officeDocument/2006/relationships/diagramQuickStyle" Target="../diagrams/quickStyle61.xml"/><Relationship Id="rId9" Type="http://schemas.openxmlformats.org/officeDocument/2006/relationships/diagramQuickStyle" Target="../diagrams/quickStyle62.xml"/><Relationship Id="rId14" Type="http://schemas.openxmlformats.org/officeDocument/2006/relationships/diagramQuickStyle" Target="../diagrams/quickStyle63.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66.xml"/><Relationship Id="rId13" Type="http://schemas.openxmlformats.org/officeDocument/2006/relationships/diagramLayout" Target="../diagrams/layout67.xml"/><Relationship Id="rId18" Type="http://schemas.openxmlformats.org/officeDocument/2006/relationships/diagramLayout" Target="../diagrams/layout68.xml"/><Relationship Id="rId3" Type="http://schemas.openxmlformats.org/officeDocument/2006/relationships/diagramLayout" Target="../diagrams/layout65.xml"/><Relationship Id="rId21" Type="http://schemas.microsoft.com/office/2007/relationships/diagramDrawing" Target="../diagrams/drawing68.xml"/><Relationship Id="rId7" Type="http://schemas.openxmlformats.org/officeDocument/2006/relationships/diagramData" Target="../diagrams/data66.xml"/><Relationship Id="rId12" Type="http://schemas.openxmlformats.org/officeDocument/2006/relationships/diagramData" Target="../diagrams/data67.xml"/><Relationship Id="rId17" Type="http://schemas.openxmlformats.org/officeDocument/2006/relationships/diagramData" Target="../diagrams/data68.xml"/><Relationship Id="rId2" Type="http://schemas.openxmlformats.org/officeDocument/2006/relationships/diagramData" Target="../diagrams/data65.xml"/><Relationship Id="rId16" Type="http://schemas.microsoft.com/office/2007/relationships/diagramDrawing" Target="../diagrams/drawing67.xml"/><Relationship Id="rId20" Type="http://schemas.openxmlformats.org/officeDocument/2006/relationships/diagramColors" Target="../diagrams/colors68.xml"/><Relationship Id="rId1" Type="http://schemas.openxmlformats.org/officeDocument/2006/relationships/slideLayout" Target="../slideLayouts/slideLayout12.xml"/><Relationship Id="rId6" Type="http://schemas.microsoft.com/office/2007/relationships/diagramDrawing" Target="../diagrams/drawing65.xml"/><Relationship Id="rId11" Type="http://schemas.microsoft.com/office/2007/relationships/diagramDrawing" Target="../diagrams/drawing66.xml"/><Relationship Id="rId5" Type="http://schemas.openxmlformats.org/officeDocument/2006/relationships/diagramColors" Target="../diagrams/colors65.xml"/><Relationship Id="rId15" Type="http://schemas.openxmlformats.org/officeDocument/2006/relationships/diagramColors" Target="../diagrams/colors67.xml"/><Relationship Id="rId10" Type="http://schemas.openxmlformats.org/officeDocument/2006/relationships/diagramColors" Target="../diagrams/colors66.xml"/><Relationship Id="rId19" Type="http://schemas.openxmlformats.org/officeDocument/2006/relationships/diagramQuickStyle" Target="../diagrams/quickStyle68.xml"/><Relationship Id="rId4" Type="http://schemas.openxmlformats.org/officeDocument/2006/relationships/diagramQuickStyle" Target="../diagrams/quickStyle65.xml"/><Relationship Id="rId9" Type="http://schemas.openxmlformats.org/officeDocument/2006/relationships/diagramQuickStyle" Target="../diagrams/quickStyle66.xml"/><Relationship Id="rId14" Type="http://schemas.openxmlformats.org/officeDocument/2006/relationships/diagramQuickStyle" Target="../diagrams/quickStyle67.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70.xml"/><Relationship Id="rId13" Type="http://schemas.openxmlformats.org/officeDocument/2006/relationships/diagramLayout" Target="../diagrams/layout71.xml"/><Relationship Id="rId18" Type="http://schemas.openxmlformats.org/officeDocument/2006/relationships/diagramLayout" Target="../diagrams/layout72.xml"/><Relationship Id="rId3" Type="http://schemas.openxmlformats.org/officeDocument/2006/relationships/diagramLayout" Target="../diagrams/layout69.xml"/><Relationship Id="rId21" Type="http://schemas.microsoft.com/office/2007/relationships/diagramDrawing" Target="../diagrams/drawing72.xml"/><Relationship Id="rId7" Type="http://schemas.openxmlformats.org/officeDocument/2006/relationships/diagramData" Target="../diagrams/data70.xml"/><Relationship Id="rId12" Type="http://schemas.openxmlformats.org/officeDocument/2006/relationships/diagramData" Target="../diagrams/data71.xml"/><Relationship Id="rId17" Type="http://schemas.openxmlformats.org/officeDocument/2006/relationships/diagramData" Target="../diagrams/data72.xml"/><Relationship Id="rId2" Type="http://schemas.openxmlformats.org/officeDocument/2006/relationships/diagramData" Target="../diagrams/data69.xml"/><Relationship Id="rId16" Type="http://schemas.microsoft.com/office/2007/relationships/diagramDrawing" Target="../diagrams/drawing71.xml"/><Relationship Id="rId20" Type="http://schemas.openxmlformats.org/officeDocument/2006/relationships/diagramColors" Target="../diagrams/colors72.xml"/><Relationship Id="rId1" Type="http://schemas.openxmlformats.org/officeDocument/2006/relationships/slideLayout" Target="../slideLayouts/slideLayout12.xml"/><Relationship Id="rId6" Type="http://schemas.microsoft.com/office/2007/relationships/diagramDrawing" Target="../diagrams/drawing69.xml"/><Relationship Id="rId11" Type="http://schemas.microsoft.com/office/2007/relationships/diagramDrawing" Target="../diagrams/drawing70.xml"/><Relationship Id="rId5" Type="http://schemas.openxmlformats.org/officeDocument/2006/relationships/diagramColors" Target="../diagrams/colors69.xml"/><Relationship Id="rId15" Type="http://schemas.openxmlformats.org/officeDocument/2006/relationships/diagramColors" Target="../diagrams/colors71.xml"/><Relationship Id="rId10" Type="http://schemas.openxmlformats.org/officeDocument/2006/relationships/diagramColors" Target="../diagrams/colors70.xml"/><Relationship Id="rId19" Type="http://schemas.openxmlformats.org/officeDocument/2006/relationships/diagramQuickStyle" Target="../diagrams/quickStyle72.xml"/><Relationship Id="rId4" Type="http://schemas.openxmlformats.org/officeDocument/2006/relationships/diagramQuickStyle" Target="../diagrams/quickStyle69.xml"/><Relationship Id="rId9" Type="http://schemas.openxmlformats.org/officeDocument/2006/relationships/diagramQuickStyle" Target="../diagrams/quickStyle70.xml"/><Relationship Id="rId14" Type="http://schemas.openxmlformats.org/officeDocument/2006/relationships/diagramQuickStyle" Target="../diagrams/quickStyle71.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74.xml"/><Relationship Id="rId13" Type="http://schemas.openxmlformats.org/officeDocument/2006/relationships/diagramLayout" Target="../diagrams/layout75.xml"/><Relationship Id="rId18" Type="http://schemas.openxmlformats.org/officeDocument/2006/relationships/diagramLayout" Target="../diagrams/layout76.xml"/><Relationship Id="rId26" Type="http://schemas.microsoft.com/office/2007/relationships/diagramDrawing" Target="../diagrams/drawing77.xml"/><Relationship Id="rId3" Type="http://schemas.openxmlformats.org/officeDocument/2006/relationships/diagramLayout" Target="../diagrams/layout73.xml"/><Relationship Id="rId21" Type="http://schemas.microsoft.com/office/2007/relationships/diagramDrawing" Target="../diagrams/drawing76.xml"/><Relationship Id="rId7" Type="http://schemas.openxmlformats.org/officeDocument/2006/relationships/diagramData" Target="../diagrams/data74.xml"/><Relationship Id="rId12" Type="http://schemas.openxmlformats.org/officeDocument/2006/relationships/diagramData" Target="../diagrams/data75.xml"/><Relationship Id="rId17" Type="http://schemas.openxmlformats.org/officeDocument/2006/relationships/diagramData" Target="../diagrams/data76.xml"/><Relationship Id="rId25" Type="http://schemas.openxmlformats.org/officeDocument/2006/relationships/diagramColors" Target="../diagrams/colors77.xml"/><Relationship Id="rId2" Type="http://schemas.openxmlformats.org/officeDocument/2006/relationships/diagramData" Target="../diagrams/data73.xml"/><Relationship Id="rId16" Type="http://schemas.microsoft.com/office/2007/relationships/diagramDrawing" Target="../diagrams/drawing75.xml"/><Relationship Id="rId20" Type="http://schemas.openxmlformats.org/officeDocument/2006/relationships/diagramColors" Target="../diagrams/colors76.xml"/><Relationship Id="rId1" Type="http://schemas.openxmlformats.org/officeDocument/2006/relationships/slideLayout" Target="../slideLayouts/slideLayout12.xml"/><Relationship Id="rId6" Type="http://schemas.microsoft.com/office/2007/relationships/diagramDrawing" Target="../diagrams/drawing73.xml"/><Relationship Id="rId11" Type="http://schemas.microsoft.com/office/2007/relationships/diagramDrawing" Target="../diagrams/drawing74.xml"/><Relationship Id="rId24" Type="http://schemas.openxmlformats.org/officeDocument/2006/relationships/diagramQuickStyle" Target="../diagrams/quickStyle77.xml"/><Relationship Id="rId5" Type="http://schemas.openxmlformats.org/officeDocument/2006/relationships/diagramColors" Target="../diagrams/colors73.xml"/><Relationship Id="rId15" Type="http://schemas.openxmlformats.org/officeDocument/2006/relationships/diagramColors" Target="../diagrams/colors75.xml"/><Relationship Id="rId23" Type="http://schemas.openxmlformats.org/officeDocument/2006/relationships/diagramLayout" Target="../diagrams/layout77.xml"/><Relationship Id="rId10" Type="http://schemas.openxmlformats.org/officeDocument/2006/relationships/diagramColors" Target="../diagrams/colors74.xml"/><Relationship Id="rId19" Type="http://schemas.openxmlformats.org/officeDocument/2006/relationships/diagramQuickStyle" Target="../diagrams/quickStyle76.xml"/><Relationship Id="rId4" Type="http://schemas.openxmlformats.org/officeDocument/2006/relationships/diagramQuickStyle" Target="../diagrams/quickStyle73.xml"/><Relationship Id="rId9" Type="http://schemas.openxmlformats.org/officeDocument/2006/relationships/diagramQuickStyle" Target="../diagrams/quickStyle74.xml"/><Relationship Id="rId14" Type="http://schemas.openxmlformats.org/officeDocument/2006/relationships/diagramQuickStyle" Target="../diagrams/quickStyle75.xml"/><Relationship Id="rId22" Type="http://schemas.openxmlformats.org/officeDocument/2006/relationships/diagramData" Target="../diagrams/data77.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79.xml"/><Relationship Id="rId3" Type="http://schemas.openxmlformats.org/officeDocument/2006/relationships/diagramLayout" Target="../diagrams/layout78.xml"/><Relationship Id="rId7" Type="http://schemas.openxmlformats.org/officeDocument/2006/relationships/diagramData" Target="../diagrams/data79.xml"/><Relationship Id="rId2" Type="http://schemas.openxmlformats.org/officeDocument/2006/relationships/diagramData" Target="../diagrams/data78.xml"/><Relationship Id="rId1" Type="http://schemas.openxmlformats.org/officeDocument/2006/relationships/slideLayout" Target="../slideLayouts/slideLayout12.xml"/><Relationship Id="rId6" Type="http://schemas.microsoft.com/office/2007/relationships/diagramDrawing" Target="../diagrams/drawing78.xml"/><Relationship Id="rId11" Type="http://schemas.microsoft.com/office/2007/relationships/diagramDrawing" Target="../diagrams/drawing79.xml"/><Relationship Id="rId5" Type="http://schemas.openxmlformats.org/officeDocument/2006/relationships/diagramColors" Target="../diagrams/colors78.xml"/><Relationship Id="rId10" Type="http://schemas.openxmlformats.org/officeDocument/2006/relationships/diagramColors" Target="../diagrams/colors79.xml"/><Relationship Id="rId4" Type="http://schemas.openxmlformats.org/officeDocument/2006/relationships/diagramQuickStyle" Target="../diagrams/quickStyle78.xml"/><Relationship Id="rId9" Type="http://schemas.openxmlformats.org/officeDocument/2006/relationships/diagramQuickStyle" Target="../diagrams/quickStyle79.xml"/></Relationships>
</file>

<file path=ppt/slides/_rels/slide25.xml.rels><?xml version="1.0" encoding="UTF-8" standalone="yes"?>
<Relationships xmlns="http://schemas.openxmlformats.org/package/2006/relationships"><Relationship Id="rId8" Type="http://schemas.openxmlformats.org/officeDocument/2006/relationships/diagramLayout" Target="../diagrams/layout81.xml"/><Relationship Id="rId13" Type="http://schemas.openxmlformats.org/officeDocument/2006/relationships/diagramLayout" Target="../diagrams/layout82.xml"/><Relationship Id="rId18" Type="http://schemas.openxmlformats.org/officeDocument/2006/relationships/diagramLayout" Target="../diagrams/layout83.xml"/><Relationship Id="rId3" Type="http://schemas.openxmlformats.org/officeDocument/2006/relationships/diagramLayout" Target="../diagrams/layout80.xml"/><Relationship Id="rId21" Type="http://schemas.microsoft.com/office/2007/relationships/diagramDrawing" Target="../diagrams/drawing83.xml"/><Relationship Id="rId7" Type="http://schemas.openxmlformats.org/officeDocument/2006/relationships/diagramData" Target="../diagrams/data81.xml"/><Relationship Id="rId12" Type="http://schemas.openxmlformats.org/officeDocument/2006/relationships/diagramData" Target="../diagrams/data82.xml"/><Relationship Id="rId17" Type="http://schemas.openxmlformats.org/officeDocument/2006/relationships/diagramData" Target="../diagrams/data83.xml"/><Relationship Id="rId2" Type="http://schemas.openxmlformats.org/officeDocument/2006/relationships/diagramData" Target="../diagrams/data80.xml"/><Relationship Id="rId16" Type="http://schemas.microsoft.com/office/2007/relationships/diagramDrawing" Target="../diagrams/drawing82.xml"/><Relationship Id="rId20" Type="http://schemas.openxmlformats.org/officeDocument/2006/relationships/diagramColors" Target="../diagrams/colors83.xml"/><Relationship Id="rId1" Type="http://schemas.openxmlformats.org/officeDocument/2006/relationships/slideLayout" Target="../slideLayouts/slideLayout12.xml"/><Relationship Id="rId6" Type="http://schemas.microsoft.com/office/2007/relationships/diagramDrawing" Target="../diagrams/drawing80.xml"/><Relationship Id="rId11" Type="http://schemas.microsoft.com/office/2007/relationships/diagramDrawing" Target="../diagrams/drawing81.xml"/><Relationship Id="rId5" Type="http://schemas.openxmlformats.org/officeDocument/2006/relationships/diagramColors" Target="../diagrams/colors80.xml"/><Relationship Id="rId15" Type="http://schemas.openxmlformats.org/officeDocument/2006/relationships/diagramColors" Target="../diagrams/colors82.xml"/><Relationship Id="rId10" Type="http://schemas.openxmlformats.org/officeDocument/2006/relationships/diagramColors" Target="../diagrams/colors81.xml"/><Relationship Id="rId19" Type="http://schemas.openxmlformats.org/officeDocument/2006/relationships/diagramQuickStyle" Target="../diagrams/quickStyle83.xml"/><Relationship Id="rId4" Type="http://schemas.openxmlformats.org/officeDocument/2006/relationships/diagramQuickStyle" Target="../diagrams/quickStyle80.xml"/><Relationship Id="rId9" Type="http://schemas.openxmlformats.org/officeDocument/2006/relationships/diagramQuickStyle" Target="../diagrams/quickStyle81.xml"/><Relationship Id="rId14" Type="http://schemas.openxmlformats.org/officeDocument/2006/relationships/diagramQuickStyle" Target="../diagrams/quickStyle82.xml"/></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85.xml"/><Relationship Id="rId13" Type="http://schemas.openxmlformats.org/officeDocument/2006/relationships/diagramLayout" Target="../diagrams/layout86.xml"/><Relationship Id="rId18" Type="http://schemas.openxmlformats.org/officeDocument/2006/relationships/diagramLayout" Target="../diagrams/layout87.xml"/><Relationship Id="rId3" Type="http://schemas.openxmlformats.org/officeDocument/2006/relationships/diagramLayout" Target="../diagrams/layout84.xml"/><Relationship Id="rId21" Type="http://schemas.microsoft.com/office/2007/relationships/diagramDrawing" Target="../diagrams/drawing87.xml"/><Relationship Id="rId7" Type="http://schemas.openxmlformats.org/officeDocument/2006/relationships/diagramData" Target="../diagrams/data85.xml"/><Relationship Id="rId12" Type="http://schemas.openxmlformats.org/officeDocument/2006/relationships/diagramData" Target="../diagrams/data86.xml"/><Relationship Id="rId17" Type="http://schemas.openxmlformats.org/officeDocument/2006/relationships/diagramData" Target="../diagrams/data87.xml"/><Relationship Id="rId2" Type="http://schemas.openxmlformats.org/officeDocument/2006/relationships/diagramData" Target="../diagrams/data84.xml"/><Relationship Id="rId16" Type="http://schemas.microsoft.com/office/2007/relationships/diagramDrawing" Target="../diagrams/drawing86.xml"/><Relationship Id="rId20" Type="http://schemas.openxmlformats.org/officeDocument/2006/relationships/diagramColors" Target="../diagrams/colors87.xml"/><Relationship Id="rId1" Type="http://schemas.openxmlformats.org/officeDocument/2006/relationships/slideLayout" Target="../slideLayouts/slideLayout12.xml"/><Relationship Id="rId6" Type="http://schemas.microsoft.com/office/2007/relationships/diagramDrawing" Target="../diagrams/drawing84.xml"/><Relationship Id="rId11" Type="http://schemas.microsoft.com/office/2007/relationships/diagramDrawing" Target="../diagrams/drawing85.xml"/><Relationship Id="rId5" Type="http://schemas.openxmlformats.org/officeDocument/2006/relationships/diagramColors" Target="../diagrams/colors84.xml"/><Relationship Id="rId15" Type="http://schemas.openxmlformats.org/officeDocument/2006/relationships/diagramColors" Target="../diagrams/colors86.xml"/><Relationship Id="rId10" Type="http://schemas.openxmlformats.org/officeDocument/2006/relationships/diagramColors" Target="../diagrams/colors85.xml"/><Relationship Id="rId19" Type="http://schemas.openxmlformats.org/officeDocument/2006/relationships/diagramQuickStyle" Target="../diagrams/quickStyle87.xml"/><Relationship Id="rId4" Type="http://schemas.openxmlformats.org/officeDocument/2006/relationships/diagramQuickStyle" Target="../diagrams/quickStyle84.xml"/><Relationship Id="rId9" Type="http://schemas.openxmlformats.org/officeDocument/2006/relationships/diagramQuickStyle" Target="../diagrams/quickStyle85.xml"/><Relationship Id="rId14" Type="http://schemas.openxmlformats.org/officeDocument/2006/relationships/diagramQuickStyle" Target="../diagrams/quickStyle86.xml"/></Relationships>
</file>

<file path=ppt/slides/_rels/slide27.xml.rels><?xml version="1.0" encoding="UTF-8" standalone="yes"?>
<Relationships xmlns="http://schemas.openxmlformats.org/package/2006/relationships"><Relationship Id="rId8" Type="http://schemas.openxmlformats.org/officeDocument/2006/relationships/diagramLayout" Target="../diagrams/layout89.xml"/><Relationship Id="rId13" Type="http://schemas.openxmlformats.org/officeDocument/2006/relationships/diagramLayout" Target="../diagrams/layout90.xml"/><Relationship Id="rId18" Type="http://schemas.openxmlformats.org/officeDocument/2006/relationships/diagramLayout" Target="../diagrams/layout91.xml"/><Relationship Id="rId3" Type="http://schemas.openxmlformats.org/officeDocument/2006/relationships/diagramLayout" Target="../diagrams/layout88.xml"/><Relationship Id="rId21" Type="http://schemas.microsoft.com/office/2007/relationships/diagramDrawing" Target="../diagrams/drawing91.xml"/><Relationship Id="rId7" Type="http://schemas.openxmlformats.org/officeDocument/2006/relationships/diagramData" Target="../diagrams/data89.xml"/><Relationship Id="rId12" Type="http://schemas.openxmlformats.org/officeDocument/2006/relationships/diagramData" Target="../diagrams/data90.xml"/><Relationship Id="rId17" Type="http://schemas.openxmlformats.org/officeDocument/2006/relationships/diagramData" Target="../diagrams/data91.xml"/><Relationship Id="rId2" Type="http://schemas.openxmlformats.org/officeDocument/2006/relationships/diagramData" Target="../diagrams/data88.xml"/><Relationship Id="rId16" Type="http://schemas.microsoft.com/office/2007/relationships/diagramDrawing" Target="../diagrams/drawing90.xml"/><Relationship Id="rId20" Type="http://schemas.openxmlformats.org/officeDocument/2006/relationships/diagramColors" Target="../diagrams/colors91.xml"/><Relationship Id="rId1" Type="http://schemas.openxmlformats.org/officeDocument/2006/relationships/slideLayout" Target="../slideLayouts/slideLayout12.xml"/><Relationship Id="rId6" Type="http://schemas.microsoft.com/office/2007/relationships/diagramDrawing" Target="../diagrams/drawing88.xml"/><Relationship Id="rId11" Type="http://schemas.microsoft.com/office/2007/relationships/diagramDrawing" Target="../diagrams/drawing89.xml"/><Relationship Id="rId5" Type="http://schemas.openxmlformats.org/officeDocument/2006/relationships/diagramColors" Target="../diagrams/colors88.xml"/><Relationship Id="rId15" Type="http://schemas.openxmlformats.org/officeDocument/2006/relationships/diagramColors" Target="../diagrams/colors90.xml"/><Relationship Id="rId10" Type="http://schemas.openxmlformats.org/officeDocument/2006/relationships/diagramColors" Target="../diagrams/colors89.xml"/><Relationship Id="rId19" Type="http://schemas.openxmlformats.org/officeDocument/2006/relationships/diagramQuickStyle" Target="../diagrams/quickStyle91.xml"/><Relationship Id="rId4" Type="http://schemas.openxmlformats.org/officeDocument/2006/relationships/diagramQuickStyle" Target="../diagrams/quickStyle88.xml"/><Relationship Id="rId9" Type="http://schemas.openxmlformats.org/officeDocument/2006/relationships/diagramQuickStyle" Target="../diagrams/quickStyle89.xml"/><Relationship Id="rId14" Type="http://schemas.openxmlformats.org/officeDocument/2006/relationships/diagramQuickStyle" Target="../diagrams/quickStyle90.xml"/></Relationships>
</file>

<file path=ppt/slides/_rels/slide28.xml.rels><?xml version="1.0" encoding="UTF-8" standalone="yes"?>
<Relationships xmlns="http://schemas.openxmlformats.org/package/2006/relationships"><Relationship Id="rId8" Type="http://schemas.openxmlformats.org/officeDocument/2006/relationships/diagramLayout" Target="../diagrams/layout93.xml"/><Relationship Id="rId13" Type="http://schemas.openxmlformats.org/officeDocument/2006/relationships/diagramLayout" Target="../diagrams/layout94.xml"/><Relationship Id="rId3" Type="http://schemas.openxmlformats.org/officeDocument/2006/relationships/diagramLayout" Target="../diagrams/layout92.xml"/><Relationship Id="rId7" Type="http://schemas.openxmlformats.org/officeDocument/2006/relationships/diagramData" Target="../diagrams/data93.xml"/><Relationship Id="rId12" Type="http://schemas.openxmlformats.org/officeDocument/2006/relationships/diagramData" Target="../diagrams/data94.xml"/><Relationship Id="rId2" Type="http://schemas.openxmlformats.org/officeDocument/2006/relationships/diagramData" Target="../diagrams/data92.xml"/><Relationship Id="rId16" Type="http://schemas.microsoft.com/office/2007/relationships/diagramDrawing" Target="../diagrams/drawing94.xml"/><Relationship Id="rId1" Type="http://schemas.openxmlformats.org/officeDocument/2006/relationships/slideLayout" Target="../slideLayouts/slideLayout12.xml"/><Relationship Id="rId6" Type="http://schemas.microsoft.com/office/2007/relationships/diagramDrawing" Target="../diagrams/drawing92.xml"/><Relationship Id="rId11" Type="http://schemas.microsoft.com/office/2007/relationships/diagramDrawing" Target="../diagrams/drawing93.xml"/><Relationship Id="rId5" Type="http://schemas.openxmlformats.org/officeDocument/2006/relationships/diagramColors" Target="../diagrams/colors92.xml"/><Relationship Id="rId15" Type="http://schemas.openxmlformats.org/officeDocument/2006/relationships/diagramColors" Target="../diagrams/colors94.xml"/><Relationship Id="rId10" Type="http://schemas.openxmlformats.org/officeDocument/2006/relationships/diagramColors" Target="../diagrams/colors93.xml"/><Relationship Id="rId4" Type="http://schemas.openxmlformats.org/officeDocument/2006/relationships/diagramQuickStyle" Target="../diagrams/quickStyle92.xml"/><Relationship Id="rId9" Type="http://schemas.openxmlformats.org/officeDocument/2006/relationships/diagramQuickStyle" Target="../diagrams/quickStyle93.xml"/><Relationship Id="rId14" Type="http://schemas.openxmlformats.org/officeDocument/2006/relationships/diagramQuickStyle" Target="../diagrams/quickStyle94.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96.xml"/><Relationship Id="rId13" Type="http://schemas.openxmlformats.org/officeDocument/2006/relationships/diagramLayout" Target="../diagrams/layout97.xml"/><Relationship Id="rId18" Type="http://schemas.openxmlformats.org/officeDocument/2006/relationships/diagramLayout" Target="../diagrams/layout98.xml"/><Relationship Id="rId3" Type="http://schemas.openxmlformats.org/officeDocument/2006/relationships/diagramLayout" Target="../diagrams/layout95.xml"/><Relationship Id="rId21" Type="http://schemas.microsoft.com/office/2007/relationships/diagramDrawing" Target="../diagrams/drawing98.xml"/><Relationship Id="rId7" Type="http://schemas.openxmlformats.org/officeDocument/2006/relationships/diagramData" Target="../diagrams/data96.xml"/><Relationship Id="rId12" Type="http://schemas.openxmlformats.org/officeDocument/2006/relationships/diagramData" Target="../diagrams/data97.xml"/><Relationship Id="rId17" Type="http://schemas.openxmlformats.org/officeDocument/2006/relationships/diagramData" Target="../diagrams/data98.xml"/><Relationship Id="rId2" Type="http://schemas.openxmlformats.org/officeDocument/2006/relationships/diagramData" Target="../diagrams/data95.xml"/><Relationship Id="rId16" Type="http://schemas.microsoft.com/office/2007/relationships/diagramDrawing" Target="../diagrams/drawing97.xml"/><Relationship Id="rId20" Type="http://schemas.openxmlformats.org/officeDocument/2006/relationships/diagramColors" Target="../diagrams/colors98.xml"/><Relationship Id="rId1" Type="http://schemas.openxmlformats.org/officeDocument/2006/relationships/slideLayout" Target="../slideLayouts/slideLayout12.xml"/><Relationship Id="rId6" Type="http://schemas.microsoft.com/office/2007/relationships/diagramDrawing" Target="../diagrams/drawing95.xml"/><Relationship Id="rId11" Type="http://schemas.microsoft.com/office/2007/relationships/diagramDrawing" Target="../diagrams/drawing96.xml"/><Relationship Id="rId5" Type="http://schemas.openxmlformats.org/officeDocument/2006/relationships/diagramColors" Target="../diagrams/colors95.xml"/><Relationship Id="rId15" Type="http://schemas.openxmlformats.org/officeDocument/2006/relationships/diagramColors" Target="../diagrams/colors97.xml"/><Relationship Id="rId10" Type="http://schemas.openxmlformats.org/officeDocument/2006/relationships/diagramColors" Target="../diagrams/colors96.xml"/><Relationship Id="rId19" Type="http://schemas.openxmlformats.org/officeDocument/2006/relationships/diagramQuickStyle" Target="../diagrams/quickStyle98.xml"/><Relationship Id="rId4" Type="http://schemas.openxmlformats.org/officeDocument/2006/relationships/diagramQuickStyle" Target="../diagrams/quickStyle95.xml"/><Relationship Id="rId9" Type="http://schemas.openxmlformats.org/officeDocument/2006/relationships/diagramQuickStyle" Target="../diagrams/quickStyle96.xml"/><Relationship Id="rId14" Type="http://schemas.openxmlformats.org/officeDocument/2006/relationships/diagramQuickStyle" Target="../diagrams/quickStyle97.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12.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30.xml.rels><?xml version="1.0" encoding="UTF-8" standalone="yes"?>
<Relationships xmlns="http://schemas.openxmlformats.org/package/2006/relationships"><Relationship Id="rId8" Type="http://schemas.openxmlformats.org/officeDocument/2006/relationships/diagramLayout" Target="../diagrams/layout100.xml"/><Relationship Id="rId13" Type="http://schemas.openxmlformats.org/officeDocument/2006/relationships/diagramLayout" Target="../diagrams/layout101.xml"/><Relationship Id="rId18" Type="http://schemas.openxmlformats.org/officeDocument/2006/relationships/diagramLayout" Target="../diagrams/layout102.xml"/><Relationship Id="rId3" Type="http://schemas.openxmlformats.org/officeDocument/2006/relationships/diagramLayout" Target="../diagrams/layout99.xml"/><Relationship Id="rId21" Type="http://schemas.microsoft.com/office/2007/relationships/diagramDrawing" Target="../diagrams/drawing102.xml"/><Relationship Id="rId7" Type="http://schemas.openxmlformats.org/officeDocument/2006/relationships/diagramData" Target="../diagrams/data100.xml"/><Relationship Id="rId12" Type="http://schemas.openxmlformats.org/officeDocument/2006/relationships/diagramData" Target="../diagrams/data101.xml"/><Relationship Id="rId17" Type="http://schemas.openxmlformats.org/officeDocument/2006/relationships/diagramData" Target="../diagrams/data102.xml"/><Relationship Id="rId2" Type="http://schemas.openxmlformats.org/officeDocument/2006/relationships/diagramData" Target="../diagrams/data99.xml"/><Relationship Id="rId16" Type="http://schemas.microsoft.com/office/2007/relationships/diagramDrawing" Target="../diagrams/drawing101.xml"/><Relationship Id="rId20" Type="http://schemas.openxmlformats.org/officeDocument/2006/relationships/diagramColors" Target="../diagrams/colors102.xml"/><Relationship Id="rId1" Type="http://schemas.openxmlformats.org/officeDocument/2006/relationships/slideLayout" Target="../slideLayouts/slideLayout12.xml"/><Relationship Id="rId6" Type="http://schemas.microsoft.com/office/2007/relationships/diagramDrawing" Target="../diagrams/drawing99.xml"/><Relationship Id="rId11" Type="http://schemas.microsoft.com/office/2007/relationships/diagramDrawing" Target="../diagrams/drawing100.xml"/><Relationship Id="rId5" Type="http://schemas.openxmlformats.org/officeDocument/2006/relationships/diagramColors" Target="../diagrams/colors99.xml"/><Relationship Id="rId15" Type="http://schemas.openxmlformats.org/officeDocument/2006/relationships/diagramColors" Target="../diagrams/colors101.xml"/><Relationship Id="rId10" Type="http://schemas.openxmlformats.org/officeDocument/2006/relationships/diagramColors" Target="../diagrams/colors100.xml"/><Relationship Id="rId19" Type="http://schemas.openxmlformats.org/officeDocument/2006/relationships/diagramQuickStyle" Target="../diagrams/quickStyle102.xml"/><Relationship Id="rId4" Type="http://schemas.openxmlformats.org/officeDocument/2006/relationships/diagramQuickStyle" Target="../diagrams/quickStyle99.xml"/><Relationship Id="rId9" Type="http://schemas.openxmlformats.org/officeDocument/2006/relationships/diagramQuickStyle" Target="../diagrams/quickStyle100.xml"/><Relationship Id="rId14" Type="http://schemas.openxmlformats.org/officeDocument/2006/relationships/diagramQuickStyle" Target="../diagrams/quickStyle101.xml"/></Relationships>
</file>

<file path=ppt/slides/_rels/slide31.xml.rels><?xml version="1.0" encoding="UTF-8" standalone="yes"?>
<Relationships xmlns="http://schemas.openxmlformats.org/package/2006/relationships"><Relationship Id="rId8" Type="http://schemas.openxmlformats.org/officeDocument/2006/relationships/diagramLayout" Target="../diagrams/layout104.xml"/><Relationship Id="rId13" Type="http://schemas.openxmlformats.org/officeDocument/2006/relationships/diagramLayout" Target="../diagrams/layout105.xml"/><Relationship Id="rId18" Type="http://schemas.openxmlformats.org/officeDocument/2006/relationships/diagramLayout" Target="../diagrams/layout106.xml"/><Relationship Id="rId3" Type="http://schemas.openxmlformats.org/officeDocument/2006/relationships/diagramLayout" Target="../diagrams/layout103.xml"/><Relationship Id="rId21" Type="http://schemas.microsoft.com/office/2007/relationships/diagramDrawing" Target="../diagrams/drawing106.xml"/><Relationship Id="rId7" Type="http://schemas.openxmlformats.org/officeDocument/2006/relationships/diagramData" Target="../diagrams/data104.xml"/><Relationship Id="rId12" Type="http://schemas.openxmlformats.org/officeDocument/2006/relationships/diagramData" Target="../diagrams/data105.xml"/><Relationship Id="rId17" Type="http://schemas.openxmlformats.org/officeDocument/2006/relationships/diagramData" Target="../diagrams/data106.xml"/><Relationship Id="rId2" Type="http://schemas.openxmlformats.org/officeDocument/2006/relationships/diagramData" Target="../diagrams/data103.xml"/><Relationship Id="rId16" Type="http://schemas.microsoft.com/office/2007/relationships/diagramDrawing" Target="../diagrams/drawing105.xml"/><Relationship Id="rId20" Type="http://schemas.openxmlformats.org/officeDocument/2006/relationships/diagramColors" Target="../diagrams/colors106.xml"/><Relationship Id="rId1" Type="http://schemas.openxmlformats.org/officeDocument/2006/relationships/slideLayout" Target="../slideLayouts/slideLayout12.xml"/><Relationship Id="rId6" Type="http://schemas.microsoft.com/office/2007/relationships/diagramDrawing" Target="../diagrams/drawing103.xml"/><Relationship Id="rId11" Type="http://schemas.microsoft.com/office/2007/relationships/diagramDrawing" Target="../diagrams/drawing104.xml"/><Relationship Id="rId5" Type="http://schemas.openxmlformats.org/officeDocument/2006/relationships/diagramColors" Target="../diagrams/colors103.xml"/><Relationship Id="rId15" Type="http://schemas.openxmlformats.org/officeDocument/2006/relationships/diagramColors" Target="../diagrams/colors105.xml"/><Relationship Id="rId10" Type="http://schemas.openxmlformats.org/officeDocument/2006/relationships/diagramColors" Target="../diagrams/colors104.xml"/><Relationship Id="rId19" Type="http://schemas.openxmlformats.org/officeDocument/2006/relationships/diagramQuickStyle" Target="../diagrams/quickStyle106.xml"/><Relationship Id="rId4" Type="http://schemas.openxmlformats.org/officeDocument/2006/relationships/diagramQuickStyle" Target="../diagrams/quickStyle103.xml"/><Relationship Id="rId9" Type="http://schemas.openxmlformats.org/officeDocument/2006/relationships/diagramQuickStyle" Target="../diagrams/quickStyle104.xml"/><Relationship Id="rId14" Type="http://schemas.openxmlformats.org/officeDocument/2006/relationships/diagramQuickStyle" Target="../diagrams/quickStyle105.xml"/></Relationships>
</file>

<file path=ppt/slides/_rels/slide32.xml.rels><?xml version="1.0" encoding="UTF-8" standalone="yes"?>
<Relationships xmlns="http://schemas.openxmlformats.org/package/2006/relationships"><Relationship Id="rId8" Type="http://schemas.openxmlformats.org/officeDocument/2006/relationships/diagramLayout" Target="../diagrams/layout108.xml"/><Relationship Id="rId13" Type="http://schemas.openxmlformats.org/officeDocument/2006/relationships/diagramLayout" Target="../diagrams/layout109.xml"/><Relationship Id="rId18" Type="http://schemas.openxmlformats.org/officeDocument/2006/relationships/diagramLayout" Target="../diagrams/layout110.xml"/><Relationship Id="rId26" Type="http://schemas.microsoft.com/office/2007/relationships/diagramDrawing" Target="../diagrams/drawing111.xml"/><Relationship Id="rId3" Type="http://schemas.openxmlformats.org/officeDocument/2006/relationships/diagramLayout" Target="../diagrams/layout107.xml"/><Relationship Id="rId21" Type="http://schemas.microsoft.com/office/2007/relationships/diagramDrawing" Target="../diagrams/drawing110.xml"/><Relationship Id="rId7" Type="http://schemas.openxmlformats.org/officeDocument/2006/relationships/diagramData" Target="../diagrams/data108.xml"/><Relationship Id="rId12" Type="http://schemas.openxmlformats.org/officeDocument/2006/relationships/diagramData" Target="../diagrams/data109.xml"/><Relationship Id="rId17" Type="http://schemas.openxmlformats.org/officeDocument/2006/relationships/diagramData" Target="../diagrams/data110.xml"/><Relationship Id="rId25" Type="http://schemas.openxmlformats.org/officeDocument/2006/relationships/diagramColors" Target="../diagrams/colors111.xml"/><Relationship Id="rId2" Type="http://schemas.openxmlformats.org/officeDocument/2006/relationships/diagramData" Target="../diagrams/data107.xml"/><Relationship Id="rId16" Type="http://schemas.microsoft.com/office/2007/relationships/diagramDrawing" Target="../diagrams/drawing109.xml"/><Relationship Id="rId20" Type="http://schemas.openxmlformats.org/officeDocument/2006/relationships/diagramColors" Target="../diagrams/colors110.xml"/><Relationship Id="rId29" Type="http://schemas.openxmlformats.org/officeDocument/2006/relationships/diagramQuickStyle" Target="../diagrams/quickStyle112.xml"/><Relationship Id="rId1" Type="http://schemas.openxmlformats.org/officeDocument/2006/relationships/slideLayout" Target="../slideLayouts/slideLayout12.xml"/><Relationship Id="rId6" Type="http://schemas.microsoft.com/office/2007/relationships/diagramDrawing" Target="../diagrams/drawing107.xml"/><Relationship Id="rId11" Type="http://schemas.microsoft.com/office/2007/relationships/diagramDrawing" Target="../diagrams/drawing108.xml"/><Relationship Id="rId24" Type="http://schemas.openxmlformats.org/officeDocument/2006/relationships/diagramQuickStyle" Target="../diagrams/quickStyle111.xml"/><Relationship Id="rId5" Type="http://schemas.openxmlformats.org/officeDocument/2006/relationships/diagramColors" Target="../diagrams/colors107.xml"/><Relationship Id="rId15" Type="http://schemas.openxmlformats.org/officeDocument/2006/relationships/diagramColors" Target="../diagrams/colors109.xml"/><Relationship Id="rId23" Type="http://schemas.openxmlformats.org/officeDocument/2006/relationships/diagramLayout" Target="../diagrams/layout111.xml"/><Relationship Id="rId28" Type="http://schemas.openxmlformats.org/officeDocument/2006/relationships/diagramLayout" Target="../diagrams/layout112.xml"/><Relationship Id="rId10" Type="http://schemas.openxmlformats.org/officeDocument/2006/relationships/diagramColors" Target="../diagrams/colors108.xml"/><Relationship Id="rId19" Type="http://schemas.openxmlformats.org/officeDocument/2006/relationships/diagramQuickStyle" Target="../diagrams/quickStyle110.xml"/><Relationship Id="rId31" Type="http://schemas.microsoft.com/office/2007/relationships/diagramDrawing" Target="../diagrams/drawing112.xml"/><Relationship Id="rId4" Type="http://schemas.openxmlformats.org/officeDocument/2006/relationships/diagramQuickStyle" Target="../diagrams/quickStyle107.xml"/><Relationship Id="rId9" Type="http://schemas.openxmlformats.org/officeDocument/2006/relationships/diagramQuickStyle" Target="../diagrams/quickStyle108.xml"/><Relationship Id="rId14" Type="http://schemas.openxmlformats.org/officeDocument/2006/relationships/diagramQuickStyle" Target="../diagrams/quickStyle109.xml"/><Relationship Id="rId22" Type="http://schemas.openxmlformats.org/officeDocument/2006/relationships/diagramData" Target="../diagrams/data111.xml"/><Relationship Id="rId27" Type="http://schemas.openxmlformats.org/officeDocument/2006/relationships/diagramData" Target="../diagrams/data112.xml"/><Relationship Id="rId30" Type="http://schemas.openxmlformats.org/officeDocument/2006/relationships/diagramColors" Target="../diagrams/colors112.xml"/></Relationships>
</file>

<file path=ppt/slides/_rels/slide33.xml.rels><?xml version="1.0" encoding="UTF-8" standalone="yes"?>
<Relationships xmlns="http://schemas.openxmlformats.org/package/2006/relationships"><Relationship Id="rId8" Type="http://schemas.openxmlformats.org/officeDocument/2006/relationships/diagramLayout" Target="../diagrams/layout114.xml"/><Relationship Id="rId13" Type="http://schemas.openxmlformats.org/officeDocument/2006/relationships/diagramLayout" Target="../diagrams/layout115.xml"/><Relationship Id="rId18" Type="http://schemas.openxmlformats.org/officeDocument/2006/relationships/diagramLayout" Target="../diagrams/layout116.xml"/><Relationship Id="rId26" Type="http://schemas.microsoft.com/office/2007/relationships/diagramDrawing" Target="../diagrams/drawing117.xml"/><Relationship Id="rId3" Type="http://schemas.openxmlformats.org/officeDocument/2006/relationships/diagramLayout" Target="../diagrams/layout113.xml"/><Relationship Id="rId21" Type="http://schemas.microsoft.com/office/2007/relationships/diagramDrawing" Target="../diagrams/drawing116.xml"/><Relationship Id="rId7" Type="http://schemas.openxmlformats.org/officeDocument/2006/relationships/diagramData" Target="../diagrams/data114.xml"/><Relationship Id="rId12" Type="http://schemas.openxmlformats.org/officeDocument/2006/relationships/diagramData" Target="../diagrams/data115.xml"/><Relationship Id="rId17" Type="http://schemas.openxmlformats.org/officeDocument/2006/relationships/diagramData" Target="../diagrams/data116.xml"/><Relationship Id="rId25" Type="http://schemas.openxmlformats.org/officeDocument/2006/relationships/diagramColors" Target="../diagrams/colors117.xml"/><Relationship Id="rId2" Type="http://schemas.openxmlformats.org/officeDocument/2006/relationships/diagramData" Target="../diagrams/data113.xml"/><Relationship Id="rId16" Type="http://schemas.microsoft.com/office/2007/relationships/diagramDrawing" Target="../diagrams/drawing115.xml"/><Relationship Id="rId20" Type="http://schemas.openxmlformats.org/officeDocument/2006/relationships/diagramColors" Target="../diagrams/colors116.xml"/><Relationship Id="rId1" Type="http://schemas.openxmlformats.org/officeDocument/2006/relationships/slideLayout" Target="../slideLayouts/slideLayout12.xml"/><Relationship Id="rId6" Type="http://schemas.microsoft.com/office/2007/relationships/diagramDrawing" Target="../diagrams/drawing113.xml"/><Relationship Id="rId11" Type="http://schemas.microsoft.com/office/2007/relationships/diagramDrawing" Target="../diagrams/drawing114.xml"/><Relationship Id="rId24" Type="http://schemas.openxmlformats.org/officeDocument/2006/relationships/diagramQuickStyle" Target="../diagrams/quickStyle117.xml"/><Relationship Id="rId5" Type="http://schemas.openxmlformats.org/officeDocument/2006/relationships/diagramColors" Target="../diagrams/colors113.xml"/><Relationship Id="rId15" Type="http://schemas.openxmlformats.org/officeDocument/2006/relationships/diagramColors" Target="../diagrams/colors115.xml"/><Relationship Id="rId23" Type="http://schemas.openxmlformats.org/officeDocument/2006/relationships/diagramLayout" Target="../diagrams/layout117.xml"/><Relationship Id="rId10" Type="http://schemas.openxmlformats.org/officeDocument/2006/relationships/diagramColors" Target="../diagrams/colors114.xml"/><Relationship Id="rId19" Type="http://schemas.openxmlformats.org/officeDocument/2006/relationships/diagramQuickStyle" Target="../diagrams/quickStyle116.xml"/><Relationship Id="rId4" Type="http://schemas.openxmlformats.org/officeDocument/2006/relationships/diagramQuickStyle" Target="../diagrams/quickStyle113.xml"/><Relationship Id="rId9" Type="http://schemas.openxmlformats.org/officeDocument/2006/relationships/diagramQuickStyle" Target="../diagrams/quickStyle114.xml"/><Relationship Id="rId14" Type="http://schemas.openxmlformats.org/officeDocument/2006/relationships/diagramQuickStyle" Target="../diagrams/quickStyle115.xml"/><Relationship Id="rId22" Type="http://schemas.openxmlformats.org/officeDocument/2006/relationships/diagramData" Target="../diagrams/data117.xml"/></Relationships>
</file>

<file path=ppt/slides/_rels/slide34.xml.rels><?xml version="1.0" encoding="UTF-8" standalone="yes"?>
<Relationships xmlns="http://schemas.openxmlformats.org/package/2006/relationships"><Relationship Id="rId8" Type="http://schemas.openxmlformats.org/officeDocument/2006/relationships/diagramLayout" Target="../diagrams/layout119.xml"/><Relationship Id="rId13" Type="http://schemas.openxmlformats.org/officeDocument/2006/relationships/diagramLayout" Target="../diagrams/layout120.xml"/><Relationship Id="rId18" Type="http://schemas.openxmlformats.org/officeDocument/2006/relationships/diagramLayout" Target="../diagrams/layout121.xml"/><Relationship Id="rId26" Type="http://schemas.microsoft.com/office/2007/relationships/diagramDrawing" Target="../diagrams/drawing122.xml"/><Relationship Id="rId3" Type="http://schemas.openxmlformats.org/officeDocument/2006/relationships/diagramLayout" Target="../diagrams/layout118.xml"/><Relationship Id="rId21" Type="http://schemas.microsoft.com/office/2007/relationships/diagramDrawing" Target="../diagrams/drawing121.xml"/><Relationship Id="rId7" Type="http://schemas.openxmlformats.org/officeDocument/2006/relationships/diagramData" Target="../diagrams/data119.xml"/><Relationship Id="rId12" Type="http://schemas.openxmlformats.org/officeDocument/2006/relationships/diagramData" Target="../diagrams/data120.xml"/><Relationship Id="rId17" Type="http://schemas.openxmlformats.org/officeDocument/2006/relationships/diagramData" Target="../diagrams/data121.xml"/><Relationship Id="rId25" Type="http://schemas.openxmlformats.org/officeDocument/2006/relationships/diagramColors" Target="../diagrams/colors122.xml"/><Relationship Id="rId2" Type="http://schemas.openxmlformats.org/officeDocument/2006/relationships/diagramData" Target="../diagrams/data118.xml"/><Relationship Id="rId16" Type="http://schemas.microsoft.com/office/2007/relationships/diagramDrawing" Target="../diagrams/drawing120.xml"/><Relationship Id="rId20" Type="http://schemas.openxmlformats.org/officeDocument/2006/relationships/diagramColors" Target="../diagrams/colors121.xml"/><Relationship Id="rId1" Type="http://schemas.openxmlformats.org/officeDocument/2006/relationships/slideLayout" Target="../slideLayouts/slideLayout12.xml"/><Relationship Id="rId6" Type="http://schemas.microsoft.com/office/2007/relationships/diagramDrawing" Target="../diagrams/drawing118.xml"/><Relationship Id="rId11" Type="http://schemas.microsoft.com/office/2007/relationships/diagramDrawing" Target="../diagrams/drawing119.xml"/><Relationship Id="rId24" Type="http://schemas.openxmlformats.org/officeDocument/2006/relationships/diagramQuickStyle" Target="../diagrams/quickStyle122.xml"/><Relationship Id="rId5" Type="http://schemas.openxmlformats.org/officeDocument/2006/relationships/diagramColors" Target="../diagrams/colors118.xml"/><Relationship Id="rId15" Type="http://schemas.openxmlformats.org/officeDocument/2006/relationships/diagramColors" Target="../diagrams/colors120.xml"/><Relationship Id="rId23" Type="http://schemas.openxmlformats.org/officeDocument/2006/relationships/diagramLayout" Target="../diagrams/layout122.xml"/><Relationship Id="rId10" Type="http://schemas.openxmlformats.org/officeDocument/2006/relationships/diagramColors" Target="../diagrams/colors119.xml"/><Relationship Id="rId19" Type="http://schemas.openxmlformats.org/officeDocument/2006/relationships/diagramQuickStyle" Target="../diagrams/quickStyle121.xml"/><Relationship Id="rId4" Type="http://schemas.openxmlformats.org/officeDocument/2006/relationships/diagramQuickStyle" Target="../diagrams/quickStyle118.xml"/><Relationship Id="rId9" Type="http://schemas.openxmlformats.org/officeDocument/2006/relationships/diagramQuickStyle" Target="../diagrams/quickStyle119.xml"/><Relationship Id="rId14" Type="http://schemas.openxmlformats.org/officeDocument/2006/relationships/diagramQuickStyle" Target="../diagrams/quickStyle120.xml"/><Relationship Id="rId22" Type="http://schemas.openxmlformats.org/officeDocument/2006/relationships/diagramData" Target="../diagrams/data122.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23.xml"/><Relationship Id="rId7" Type="http://schemas.microsoft.com/office/2007/relationships/diagramDrawing" Target="../diagrams/drawing123.xml"/><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diagramColors" Target="../diagrams/colors123.xml"/><Relationship Id="rId5" Type="http://schemas.openxmlformats.org/officeDocument/2006/relationships/diagramQuickStyle" Target="../diagrams/quickStyle123.xml"/><Relationship Id="rId4" Type="http://schemas.openxmlformats.org/officeDocument/2006/relationships/diagramLayout" Target="../diagrams/layout123.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124.xml"/><Relationship Id="rId7" Type="http://schemas.microsoft.com/office/2007/relationships/diagramDrawing" Target="../diagrams/drawing124.xml"/><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diagramColors" Target="../diagrams/colors124.xml"/><Relationship Id="rId5" Type="http://schemas.openxmlformats.org/officeDocument/2006/relationships/diagramQuickStyle" Target="../diagrams/quickStyle124.xml"/><Relationship Id="rId4" Type="http://schemas.openxmlformats.org/officeDocument/2006/relationships/diagramLayout" Target="../diagrams/layout124.xml"/></Relationships>
</file>

<file path=ppt/slides/_rels/slide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diagramLayout" Target="../diagrams/layout5.xml"/><Relationship Id="rId7" Type="http://schemas.openxmlformats.org/officeDocument/2006/relationships/diagramData" Target="../diagrams/data6.xml"/><Relationship Id="rId2" Type="http://schemas.openxmlformats.org/officeDocument/2006/relationships/diagramData" Target="../diagrams/data5.xml"/><Relationship Id="rId1" Type="http://schemas.openxmlformats.org/officeDocument/2006/relationships/slideLayout" Target="../slideLayouts/slideLayout12.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4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diagramLayout" Target="../diagrams/layout9.xml"/><Relationship Id="rId18" Type="http://schemas.openxmlformats.org/officeDocument/2006/relationships/diagramLayout" Target="../diagrams/layout10.xml"/><Relationship Id="rId3" Type="http://schemas.openxmlformats.org/officeDocument/2006/relationships/diagramLayout" Target="../diagrams/layout7.xml"/><Relationship Id="rId21" Type="http://schemas.microsoft.com/office/2007/relationships/diagramDrawing" Target="../diagrams/drawing10.xml"/><Relationship Id="rId7" Type="http://schemas.openxmlformats.org/officeDocument/2006/relationships/diagramData" Target="../diagrams/data8.xml"/><Relationship Id="rId12" Type="http://schemas.openxmlformats.org/officeDocument/2006/relationships/diagramData" Target="../diagrams/data9.xml"/><Relationship Id="rId17" Type="http://schemas.openxmlformats.org/officeDocument/2006/relationships/diagramData" Target="../diagrams/data10.xml"/><Relationship Id="rId2" Type="http://schemas.openxmlformats.org/officeDocument/2006/relationships/diagramData" Target="../diagrams/data7.xml"/><Relationship Id="rId16" Type="http://schemas.microsoft.com/office/2007/relationships/diagramDrawing" Target="../diagrams/drawing9.xml"/><Relationship Id="rId20" Type="http://schemas.openxmlformats.org/officeDocument/2006/relationships/diagramColors" Target="../diagrams/colors10.xml"/><Relationship Id="rId1" Type="http://schemas.openxmlformats.org/officeDocument/2006/relationships/slideLayout" Target="../slideLayouts/slideLayout12.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5" Type="http://schemas.openxmlformats.org/officeDocument/2006/relationships/diagramColors" Target="../diagrams/colors9.xml"/><Relationship Id="rId10" Type="http://schemas.openxmlformats.org/officeDocument/2006/relationships/diagramColors" Target="../diagrams/colors8.xml"/><Relationship Id="rId19" Type="http://schemas.openxmlformats.org/officeDocument/2006/relationships/diagramQuickStyle" Target="../diagrams/quickStyle10.xml"/><Relationship Id="rId4" Type="http://schemas.openxmlformats.org/officeDocument/2006/relationships/diagramQuickStyle" Target="../diagrams/quickStyle7.xml"/><Relationship Id="rId9" Type="http://schemas.openxmlformats.org/officeDocument/2006/relationships/diagramQuickStyle" Target="../diagrams/quickStyle8.xml"/><Relationship Id="rId14" Type="http://schemas.openxmlformats.org/officeDocument/2006/relationships/diagramQuickStyle" Target="../diagrams/quickStyle9.xml"/><Relationship Id="rId22" Type="http://schemas.openxmlformats.org/officeDocument/2006/relationships/image" Target="../media/image9.wmf"/></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12.xml"/><Relationship Id="rId3" Type="http://schemas.openxmlformats.org/officeDocument/2006/relationships/diagramLayout" Target="../diagrams/layout11.xml"/><Relationship Id="rId7" Type="http://schemas.openxmlformats.org/officeDocument/2006/relationships/diagramData" Target="../diagrams/data12.xml"/><Relationship Id="rId2" Type="http://schemas.openxmlformats.org/officeDocument/2006/relationships/diagramData" Target="../diagrams/data11.xml"/><Relationship Id="rId1" Type="http://schemas.openxmlformats.org/officeDocument/2006/relationships/slideLayout" Target="../slideLayouts/slideLayout12.xml"/><Relationship Id="rId6" Type="http://schemas.microsoft.com/office/2007/relationships/diagramDrawing" Target="../diagrams/drawing11.xml"/><Relationship Id="rId11" Type="http://schemas.microsoft.com/office/2007/relationships/diagramDrawing" Target="../diagrams/drawing12.xml"/><Relationship Id="rId5" Type="http://schemas.openxmlformats.org/officeDocument/2006/relationships/diagramColors" Target="../diagrams/colors11.xml"/><Relationship Id="rId10" Type="http://schemas.openxmlformats.org/officeDocument/2006/relationships/diagramColors" Target="../diagrams/colors12.xml"/><Relationship Id="rId4" Type="http://schemas.openxmlformats.org/officeDocument/2006/relationships/diagramQuickStyle" Target="../diagrams/quickStyle11.xml"/><Relationship Id="rId9" Type="http://schemas.openxmlformats.org/officeDocument/2006/relationships/diagramQuickStyle" Target="../diagrams/quickStyle12.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14.xml"/><Relationship Id="rId3" Type="http://schemas.openxmlformats.org/officeDocument/2006/relationships/diagramLayout" Target="../diagrams/layout13.xml"/><Relationship Id="rId7" Type="http://schemas.openxmlformats.org/officeDocument/2006/relationships/diagramData" Target="../diagrams/data14.xml"/><Relationship Id="rId2" Type="http://schemas.openxmlformats.org/officeDocument/2006/relationships/diagramData" Target="../diagrams/data13.xml"/><Relationship Id="rId1" Type="http://schemas.openxmlformats.org/officeDocument/2006/relationships/slideLayout" Target="../slideLayouts/slideLayout12.xml"/><Relationship Id="rId6" Type="http://schemas.microsoft.com/office/2007/relationships/diagramDrawing" Target="../diagrams/drawing13.xml"/><Relationship Id="rId11" Type="http://schemas.microsoft.com/office/2007/relationships/diagramDrawing" Target="../diagrams/drawing14.xml"/><Relationship Id="rId5" Type="http://schemas.openxmlformats.org/officeDocument/2006/relationships/diagramColors" Target="../diagrams/colors13.xml"/><Relationship Id="rId10" Type="http://schemas.openxmlformats.org/officeDocument/2006/relationships/diagramColors" Target="../diagrams/colors14.xml"/><Relationship Id="rId4" Type="http://schemas.openxmlformats.org/officeDocument/2006/relationships/diagramQuickStyle" Target="../diagrams/quickStyle13.xml"/><Relationship Id="rId9" Type="http://schemas.openxmlformats.org/officeDocument/2006/relationships/diagramQuickStyle" Target="../diagrams/quickStyle14.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16.xml"/><Relationship Id="rId3" Type="http://schemas.openxmlformats.org/officeDocument/2006/relationships/diagramLayout" Target="../diagrams/layout15.xml"/><Relationship Id="rId7" Type="http://schemas.openxmlformats.org/officeDocument/2006/relationships/diagramData" Target="../diagrams/data16.xml"/><Relationship Id="rId2" Type="http://schemas.openxmlformats.org/officeDocument/2006/relationships/diagramData" Target="../diagrams/data15.xml"/><Relationship Id="rId1" Type="http://schemas.openxmlformats.org/officeDocument/2006/relationships/slideLayout" Target="../slideLayouts/slideLayout12.xml"/><Relationship Id="rId6" Type="http://schemas.microsoft.com/office/2007/relationships/diagramDrawing" Target="../diagrams/drawing15.xml"/><Relationship Id="rId11" Type="http://schemas.microsoft.com/office/2007/relationships/diagramDrawing" Target="../diagrams/drawing16.xml"/><Relationship Id="rId5" Type="http://schemas.openxmlformats.org/officeDocument/2006/relationships/diagramColors" Target="../diagrams/colors15.xml"/><Relationship Id="rId10" Type="http://schemas.openxmlformats.org/officeDocument/2006/relationships/diagramColors" Target="../diagrams/colors16.xml"/><Relationship Id="rId4" Type="http://schemas.openxmlformats.org/officeDocument/2006/relationships/diagramQuickStyle" Target="../diagrams/quickStyle15.xml"/><Relationship Id="rId9" Type="http://schemas.openxmlformats.org/officeDocument/2006/relationships/diagramQuickStyle" Target="../diagrams/quickStyle16.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12.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69" name="Object 197"/>
          <p:cNvGraphicFramePr>
            <a:graphicFrameLocks noChangeAspect="1"/>
          </p:cNvGraphicFramePr>
          <p:nvPr>
            <p:custDataLst>
              <p:tags r:id="rId2"/>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080" name="think-cell Slide" r:id="rId5" imgW="360" imgH="360" progId="">
                  <p:embed/>
                </p:oleObj>
              </mc:Choice>
              <mc:Fallback>
                <p:oleObj name="think-cell Slide" r:id="rId5" imgW="360" imgH="360" progId="">
                  <p:embed/>
                  <p:pic>
                    <p:nvPicPr>
                      <p:cNvPr id="0" name="Picture 3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Box 7"/>
          <p:cNvSpPr txBox="1"/>
          <p:nvPr/>
        </p:nvSpPr>
        <p:spPr>
          <a:xfrm>
            <a:off x="307995" y="1131654"/>
            <a:ext cx="8724900" cy="738664"/>
          </a:xfrm>
          <a:prstGeom prst="rect">
            <a:avLst/>
          </a:prstGeom>
          <a:noFill/>
        </p:spPr>
        <p:txBody>
          <a:bodyPr lIns="0" tIns="0" rIns="0" bIns="0">
            <a:spAutoFit/>
          </a:bodyPr>
          <a:lstStyle/>
          <a:p>
            <a:pPr algn="ctr">
              <a:defRPr/>
            </a:pPr>
            <a:r>
              <a:rPr lang="it-IT" altLang="it-IT" sz="2400" b="1" dirty="0">
                <a:solidFill>
                  <a:srgbClr val="0B538F"/>
                </a:solidFill>
                <a:latin typeface="Neo Sans Std Medium" pitchFamily="34" charset="0"/>
              </a:rPr>
              <a:t>TAVOLO TEMATICO </a:t>
            </a:r>
            <a:endParaRPr lang="it-IT" altLang="it-IT" sz="2400" b="1" dirty="0" smtClean="0">
              <a:solidFill>
                <a:srgbClr val="0B538F"/>
              </a:solidFill>
              <a:latin typeface="Neo Sans Std Medium" pitchFamily="34" charset="0"/>
            </a:endParaRPr>
          </a:p>
          <a:p>
            <a:pPr algn="ctr">
              <a:defRPr/>
            </a:pPr>
            <a:r>
              <a:rPr lang="it-IT" altLang="it-IT" sz="2400" b="1" dirty="0" smtClean="0">
                <a:solidFill>
                  <a:srgbClr val="0B538F"/>
                </a:solidFill>
                <a:latin typeface="Neo Sans Std Medium" pitchFamily="34" charset="0"/>
              </a:rPr>
              <a:t>TURISMO</a:t>
            </a:r>
            <a:r>
              <a:rPr lang="it-IT" altLang="it-IT" sz="2400" b="1" dirty="0">
                <a:solidFill>
                  <a:srgbClr val="0B538F"/>
                </a:solidFill>
                <a:latin typeface="Neo Sans Std Medium" pitchFamily="34" charset="0"/>
              </a:rPr>
              <a:t>, CULTURA E BENI CULTURALI</a:t>
            </a:r>
            <a:endParaRPr lang="en-US" sz="2400" b="1" dirty="0">
              <a:solidFill>
                <a:srgbClr val="0B538F"/>
              </a:solidFill>
              <a:latin typeface="Neo Sans Std Medium" pitchFamily="34" charset="0"/>
            </a:endParaRPr>
          </a:p>
        </p:txBody>
      </p:sp>
      <p:cxnSp>
        <p:nvCxnSpPr>
          <p:cNvPr id="11" name="Straight Connector 10"/>
          <p:cNvCxnSpPr/>
          <p:nvPr/>
        </p:nvCxnSpPr>
        <p:spPr>
          <a:xfrm rot="5400000">
            <a:off x="4662855" y="-1183716"/>
            <a:ext cx="0" cy="6345115"/>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pic>
        <p:nvPicPr>
          <p:cNvPr id="3272" name="Immagine 38"/>
          <p:cNvPicPr>
            <a:picLocks noChangeAspect="1"/>
          </p:cNvPicPr>
          <p:nvPr/>
        </p:nvPicPr>
        <p:blipFill>
          <a:blip r:embed="rId7" cstate="print"/>
          <a:srcRect/>
          <a:stretch>
            <a:fillRect/>
          </a:stretch>
        </p:blipFill>
        <p:spPr bwMode="auto">
          <a:xfrm>
            <a:off x="3615837" y="2171855"/>
            <a:ext cx="2094035" cy="1096962"/>
          </a:xfrm>
          <a:prstGeom prst="rect">
            <a:avLst/>
          </a:prstGeom>
          <a:noFill/>
          <a:ln w="9525">
            <a:noFill/>
            <a:miter lim="800000"/>
            <a:headEnd/>
            <a:tailEnd/>
          </a:ln>
        </p:spPr>
      </p:pic>
      <p:sp>
        <p:nvSpPr>
          <p:cNvPr id="3273" name="Rettangolo 5"/>
          <p:cNvSpPr>
            <a:spLocks noChangeArrowheads="1"/>
          </p:cNvSpPr>
          <p:nvPr/>
        </p:nvSpPr>
        <p:spPr bwMode="auto">
          <a:xfrm>
            <a:off x="548054" y="3839562"/>
            <a:ext cx="7709389" cy="338554"/>
          </a:xfrm>
          <a:prstGeom prst="rect">
            <a:avLst/>
          </a:prstGeom>
          <a:noFill/>
          <a:ln w="9525">
            <a:noFill/>
            <a:miter lim="800000"/>
            <a:headEnd/>
            <a:tailEnd/>
          </a:ln>
        </p:spPr>
        <p:txBody>
          <a:bodyPr>
            <a:spAutoFit/>
          </a:bodyPr>
          <a:lstStyle/>
          <a:p>
            <a:pPr algn="ctr"/>
            <a:r>
              <a:rPr lang="it-IT" sz="1600" b="1" dirty="0" smtClean="0">
                <a:solidFill>
                  <a:srgbClr val="0B538F"/>
                </a:solidFill>
                <a:latin typeface="Neo Sans Std Medium"/>
              </a:rPr>
              <a:t>Agenda dei Lavori</a:t>
            </a:r>
            <a:endParaRPr lang="it-IT" sz="1600" b="1" dirty="0">
              <a:solidFill>
                <a:srgbClr val="0B538F"/>
              </a:solidFill>
              <a:latin typeface="Neo Sans Std Medium"/>
            </a:endParaRPr>
          </a:p>
        </p:txBody>
      </p:sp>
      <p:sp>
        <p:nvSpPr>
          <p:cNvPr id="3274" name="CasellaDiTesto 6"/>
          <p:cNvSpPr txBox="1">
            <a:spLocks noChangeArrowheads="1"/>
          </p:cNvSpPr>
          <p:nvPr/>
        </p:nvSpPr>
        <p:spPr bwMode="auto">
          <a:xfrm>
            <a:off x="1954823" y="4868863"/>
            <a:ext cx="4895850" cy="1323439"/>
          </a:xfrm>
          <a:prstGeom prst="rect">
            <a:avLst/>
          </a:prstGeom>
          <a:noFill/>
          <a:ln w="9525">
            <a:noFill/>
            <a:miter lim="800000"/>
            <a:headEnd/>
            <a:tailEnd/>
          </a:ln>
        </p:spPr>
        <p:txBody>
          <a:bodyPr>
            <a:spAutoFit/>
          </a:bodyPr>
          <a:lstStyle/>
          <a:p>
            <a:pPr algn="ctr"/>
            <a:endParaRPr lang="it-IT" sz="800" b="1" dirty="0">
              <a:solidFill>
                <a:srgbClr val="0B538F"/>
              </a:solidFill>
              <a:latin typeface="Neo Sans Std Medium"/>
            </a:endParaRPr>
          </a:p>
          <a:p>
            <a:pPr algn="ctr"/>
            <a:r>
              <a:rPr lang="it-IT" sz="1200" b="1" dirty="0" smtClean="0">
                <a:solidFill>
                  <a:srgbClr val="0B538F"/>
                </a:solidFill>
                <a:latin typeface="Neo Sans Std Medium"/>
              </a:rPr>
              <a:t>Gruppo </a:t>
            </a:r>
            <a:r>
              <a:rPr lang="it-IT" sz="1200" b="1" dirty="0">
                <a:solidFill>
                  <a:srgbClr val="0B538F"/>
                </a:solidFill>
                <a:latin typeface="Neo Sans Std Medium"/>
              </a:rPr>
              <a:t>di Lavoro Interdipartimentale per la RIS 3 Sicilia</a:t>
            </a:r>
          </a:p>
          <a:p>
            <a:pPr algn="ctr"/>
            <a:r>
              <a:rPr lang="it-IT" sz="1200" b="1" dirty="0">
                <a:solidFill>
                  <a:srgbClr val="0B538F"/>
                </a:solidFill>
                <a:latin typeface="Neo Sans Std Medium"/>
              </a:rPr>
              <a:t>Palermo, </a:t>
            </a:r>
            <a:r>
              <a:rPr lang="it-IT" sz="1200" b="1" dirty="0" smtClean="0">
                <a:solidFill>
                  <a:srgbClr val="0B538F"/>
                </a:solidFill>
                <a:latin typeface="Neo Sans Std Medium"/>
              </a:rPr>
              <a:t>8 Maggio 2014</a:t>
            </a:r>
            <a:endParaRPr lang="it-IT" sz="1200" dirty="0">
              <a:solidFill>
                <a:srgbClr val="0B538F"/>
              </a:solidFill>
              <a:latin typeface="Neo Sans Std Medium"/>
            </a:endParaRPr>
          </a:p>
          <a:p>
            <a:pPr algn="ctr"/>
            <a:endParaRPr lang="it-IT" sz="1200" dirty="0" smtClean="0">
              <a:solidFill>
                <a:srgbClr val="0B538F"/>
              </a:solidFill>
              <a:latin typeface="Neo Sans Std Medium"/>
            </a:endParaRPr>
          </a:p>
          <a:p>
            <a:pPr algn="ctr"/>
            <a:endParaRPr lang="it-IT" sz="1200" dirty="0" smtClean="0">
              <a:solidFill>
                <a:srgbClr val="0B538F"/>
              </a:solidFill>
              <a:latin typeface="Neo Sans Std Medium"/>
            </a:endParaRPr>
          </a:p>
          <a:p>
            <a:pPr algn="ctr"/>
            <a:r>
              <a:rPr lang="it-IT" sz="1200" dirty="0" smtClean="0">
                <a:solidFill>
                  <a:srgbClr val="0B538F"/>
                </a:solidFill>
                <a:latin typeface="Neo Sans Std Medium"/>
              </a:rPr>
              <a:t>Consorzio ARCA</a:t>
            </a:r>
          </a:p>
          <a:p>
            <a:pPr algn="ctr"/>
            <a:r>
              <a:rPr lang="it-IT" sz="1200" dirty="0" smtClean="0">
                <a:solidFill>
                  <a:srgbClr val="0B538F"/>
                </a:solidFill>
                <a:latin typeface="Neo Sans Std Medium"/>
              </a:rPr>
              <a:t>Edificio 16, viale delle Scienze</a:t>
            </a:r>
            <a:endParaRPr lang="it-IT" sz="1200" b="1" dirty="0">
              <a:solidFill>
                <a:srgbClr val="0B538F"/>
              </a:solidFill>
              <a:latin typeface="Neo Sans Std Medium"/>
            </a:endParaRPr>
          </a:p>
        </p:txBody>
      </p:sp>
    </p:spTree>
    <p:extLst>
      <p:ext uri="{BB962C8B-B14F-4D97-AF65-F5344CB8AC3E}">
        <p14:creationId xmlns:p14="http://schemas.microsoft.com/office/powerpoint/2010/main" val="36224107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a 2"/>
          <p:cNvGraphicFramePr>
            <a:graphicFrameLocks noGrp="1"/>
          </p:cNvGraphicFramePr>
          <p:nvPr>
            <p:extLst>
              <p:ext uri="{D42A27DB-BD31-4B8C-83A1-F6EECF244321}">
                <p14:modId xmlns:p14="http://schemas.microsoft.com/office/powerpoint/2010/main" val="789294108"/>
              </p:ext>
            </p:extLst>
          </p:nvPr>
        </p:nvGraphicFramePr>
        <p:xfrm>
          <a:off x="1187624" y="2204864"/>
          <a:ext cx="7200800" cy="3168838"/>
        </p:xfrm>
        <a:graphic>
          <a:graphicData uri="http://schemas.openxmlformats.org/drawingml/2006/table">
            <a:tbl>
              <a:tblPr>
                <a:tableStyleId>{5FD0F851-EC5A-4D38-B0AD-8093EC10F338}</a:tableStyleId>
              </a:tblPr>
              <a:tblGrid>
                <a:gridCol w="1045072"/>
                <a:gridCol w="974975"/>
                <a:gridCol w="5180753"/>
              </a:tblGrid>
              <a:tr h="366583">
                <a:tc>
                  <a:txBody>
                    <a:bodyPr/>
                    <a:lstStyle/>
                    <a:p>
                      <a:pPr marL="0" algn="ctr" defTabSz="914400" rtl="0" eaLnBrk="1" fontAlgn="b" latinLnBrk="0" hangingPunct="1"/>
                      <a:r>
                        <a:rPr lang="it-IT" sz="1600" b="1" u="none" strike="noStrike" kern="1200" dirty="0" smtClean="0">
                          <a:solidFill>
                            <a:schemeClr val="accent1">
                              <a:lumMod val="75000"/>
                            </a:schemeClr>
                          </a:solidFill>
                          <a:effectLst/>
                          <a:latin typeface="+mn-lt"/>
                          <a:ea typeface="+mn-ea"/>
                          <a:cs typeface="+mn-cs"/>
                        </a:rPr>
                        <a:t>10.20</a:t>
                      </a:r>
                      <a:endParaRPr lang="it-IT" sz="1600" b="1" u="none" strike="noStrike" kern="1200" dirty="0">
                        <a:solidFill>
                          <a:schemeClr val="accent1">
                            <a:lumMod val="75000"/>
                          </a:schemeClr>
                        </a:solidFill>
                        <a:effectLst/>
                        <a:latin typeface="+mn-lt"/>
                        <a:ea typeface="+mn-ea"/>
                        <a:cs typeface="+mn-cs"/>
                      </a:endParaRPr>
                    </a:p>
                  </a:txBody>
                  <a:tcPr marL="9525" marR="9525" marT="9525" marB="0" anchor="b">
                    <a:solidFill>
                      <a:schemeClr val="accent1">
                        <a:lumMod val="20000"/>
                        <a:lumOff val="80000"/>
                      </a:schemeClr>
                    </a:solidFill>
                  </a:tcPr>
                </a:tc>
                <a:tc>
                  <a:txBody>
                    <a:bodyPr/>
                    <a:lstStyle/>
                    <a:p>
                      <a:pPr marL="0" algn="ctr" defTabSz="914400" rtl="0" eaLnBrk="1" fontAlgn="b" latinLnBrk="0" hangingPunct="1"/>
                      <a:r>
                        <a:rPr lang="it-IT" sz="1600" b="1" u="none" strike="noStrike" kern="1200" smtClean="0">
                          <a:solidFill>
                            <a:schemeClr val="accent1">
                              <a:lumMod val="75000"/>
                            </a:schemeClr>
                          </a:solidFill>
                          <a:effectLst/>
                          <a:latin typeface="+mn-lt"/>
                          <a:ea typeface="+mn-ea"/>
                          <a:cs typeface="+mn-cs"/>
                        </a:rPr>
                        <a:t>13.15</a:t>
                      </a:r>
                      <a:endParaRPr lang="it-IT" sz="1600" b="1" u="none" strike="noStrike" kern="1200" dirty="0">
                        <a:solidFill>
                          <a:schemeClr val="accent1">
                            <a:lumMod val="75000"/>
                          </a:schemeClr>
                        </a:solidFill>
                        <a:effectLst/>
                        <a:latin typeface="+mn-lt"/>
                        <a:ea typeface="+mn-ea"/>
                        <a:cs typeface="+mn-cs"/>
                      </a:endParaRPr>
                    </a:p>
                  </a:txBody>
                  <a:tcPr marL="9525" marR="9525" marT="9525" marB="0" anchor="b">
                    <a:solidFill>
                      <a:schemeClr val="accent1">
                        <a:lumMod val="20000"/>
                        <a:lumOff val="80000"/>
                      </a:schemeClr>
                    </a:solidFill>
                  </a:tcPr>
                </a:tc>
                <a:tc>
                  <a:txBody>
                    <a:bodyPr/>
                    <a:lstStyle/>
                    <a:p>
                      <a:pPr marL="0" algn="ctr" defTabSz="914400" rtl="0" eaLnBrk="1" fontAlgn="b" latinLnBrk="0" hangingPunct="1"/>
                      <a:r>
                        <a:rPr lang="it-IT" sz="1600" b="1" u="none" strike="noStrike" kern="1200" dirty="0">
                          <a:solidFill>
                            <a:schemeClr val="accent1">
                              <a:lumMod val="75000"/>
                            </a:schemeClr>
                          </a:solidFill>
                          <a:effectLst/>
                          <a:latin typeface="+mn-lt"/>
                          <a:ea typeface="+mn-ea"/>
                          <a:cs typeface="+mn-cs"/>
                        </a:rPr>
                        <a:t>Gli ambiti di specializzazione</a:t>
                      </a:r>
                    </a:p>
                  </a:txBody>
                  <a:tcPr marL="9525" marR="9525" marT="9525" marB="0" anchor="b">
                    <a:solidFill>
                      <a:schemeClr val="accent1">
                        <a:lumMod val="20000"/>
                        <a:lumOff val="80000"/>
                      </a:schemeClr>
                    </a:solidFill>
                  </a:tcPr>
                </a:tc>
              </a:tr>
              <a:tr h="366583">
                <a:tc rowSpan="3" gridSpan="2">
                  <a:txBody>
                    <a:bodyPr/>
                    <a:lstStyle/>
                    <a:p>
                      <a:pPr algn="ctr" fontAlgn="t"/>
                      <a:r>
                        <a:rPr lang="it-IT" sz="1600" b="1" u="none" strike="noStrike" dirty="0" smtClean="0">
                          <a:solidFill>
                            <a:schemeClr val="accent1">
                              <a:lumMod val="75000"/>
                            </a:schemeClr>
                          </a:solidFill>
                          <a:effectLst/>
                        </a:rPr>
                        <a:t> </a:t>
                      </a:r>
                    </a:p>
                    <a:p>
                      <a:pPr algn="ctr" fontAlgn="t"/>
                      <a:r>
                        <a:rPr lang="it-IT" sz="1400" b="1" i="1" u="none" strike="noStrike" kern="1200" dirty="0" smtClean="0">
                          <a:solidFill>
                            <a:schemeClr val="accent1">
                              <a:lumMod val="75000"/>
                            </a:schemeClr>
                          </a:solidFill>
                          <a:effectLst/>
                          <a:latin typeface="+mn-lt"/>
                          <a:ea typeface="+mn-ea"/>
                          <a:cs typeface="+mn-cs"/>
                        </a:rPr>
                        <a:t>Regione Sicilia</a:t>
                      </a:r>
                    </a:p>
                    <a:p>
                      <a:pPr algn="ctr" fontAlgn="t"/>
                      <a:r>
                        <a:rPr lang="it-IT" sz="1400" b="1" i="1" u="none" strike="noStrike" kern="1200" dirty="0" smtClean="0">
                          <a:solidFill>
                            <a:schemeClr val="accent1">
                              <a:lumMod val="75000"/>
                            </a:schemeClr>
                          </a:solidFill>
                          <a:effectLst/>
                          <a:latin typeface="+mn-lt"/>
                          <a:ea typeface="+mn-ea"/>
                          <a:cs typeface="+mn-cs"/>
                        </a:rPr>
                        <a:t>MISE-MIUR</a:t>
                      </a:r>
                    </a:p>
                    <a:p>
                      <a:pPr algn="ctr" fontAlgn="t"/>
                      <a:r>
                        <a:rPr lang="it-IT" sz="1400" b="1" i="1" u="none" strike="noStrike" kern="1200" dirty="0" smtClean="0">
                          <a:solidFill>
                            <a:schemeClr val="accent1">
                              <a:lumMod val="75000"/>
                            </a:schemeClr>
                          </a:solidFill>
                          <a:effectLst/>
                          <a:latin typeface="+mn-lt"/>
                          <a:ea typeface="+mn-ea"/>
                          <a:cs typeface="+mn-cs"/>
                        </a:rPr>
                        <a:t>NVVIP</a:t>
                      </a:r>
                    </a:p>
                    <a:p>
                      <a:pPr algn="ctr" fontAlgn="t"/>
                      <a:r>
                        <a:rPr lang="it-IT" sz="1400" b="1" i="1" u="none" strike="noStrike" kern="1200" dirty="0" smtClean="0">
                          <a:solidFill>
                            <a:schemeClr val="accent1">
                              <a:lumMod val="75000"/>
                            </a:schemeClr>
                          </a:solidFill>
                          <a:effectLst/>
                          <a:latin typeface="+mn-lt"/>
                          <a:ea typeface="+mn-ea"/>
                          <a:cs typeface="+mn-cs"/>
                        </a:rPr>
                        <a:t>FORMEZ PA</a:t>
                      </a:r>
                    </a:p>
                  </a:txBody>
                  <a:tcPr marL="9525" marR="9525" marT="9525" marB="0"/>
                </a:tc>
                <a:tc rowSpan="3" hMerge="1">
                  <a:txBody>
                    <a:bodyPr/>
                    <a:lstStyle/>
                    <a:p>
                      <a:endParaRPr lang="it-IT"/>
                    </a:p>
                  </a:txBody>
                  <a:tcPr/>
                </a:tc>
                <a:tc>
                  <a:txBody>
                    <a:bodyPr/>
                    <a:lstStyle/>
                    <a:p>
                      <a:pPr marL="0" algn="just" defTabSz="914400" rtl="0" eaLnBrk="1" fontAlgn="b" latinLnBrk="0" hangingPunct="1"/>
                      <a:endParaRPr lang="it-IT" sz="1400" b="1" u="none" strike="noStrike" kern="1200" dirty="0" smtClean="0">
                        <a:solidFill>
                          <a:schemeClr val="accent1">
                            <a:lumMod val="75000"/>
                          </a:schemeClr>
                        </a:solidFill>
                        <a:effectLst/>
                        <a:latin typeface="+mn-lt"/>
                        <a:ea typeface="+mn-ea"/>
                        <a:cs typeface="+mn-cs"/>
                      </a:endParaRPr>
                    </a:p>
                    <a:p>
                      <a:pPr marL="0" algn="just" defTabSz="914400" rtl="0" eaLnBrk="1" fontAlgn="b" latinLnBrk="0" hangingPunct="1"/>
                      <a:r>
                        <a:rPr lang="it-IT" sz="1400" b="1" u="none" strike="noStrike" kern="1200" dirty="0" smtClean="0">
                          <a:solidFill>
                            <a:schemeClr val="accent1">
                              <a:lumMod val="75000"/>
                            </a:schemeClr>
                          </a:solidFill>
                          <a:effectLst/>
                          <a:latin typeface="+mn-lt"/>
                          <a:ea typeface="+mn-ea"/>
                          <a:cs typeface="+mn-cs"/>
                        </a:rPr>
                        <a:t>Delimitazione </a:t>
                      </a:r>
                      <a:r>
                        <a:rPr lang="it-IT" sz="1400" b="1" u="none" strike="noStrike" kern="1200" dirty="0">
                          <a:solidFill>
                            <a:schemeClr val="accent1">
                              <a:lumMod val="75000"/>
                            </a:schemeClr>
                          </a:solidFill>
                          <a:effectLst/>
                          <a:latin typeface="+mn-lt"/>
                          <a:ea typeface="+mn-ea"/>
                          <a:cs typeface="+mn-cs"/>
                        </a:rPr>
                        <a:t>ambito tematico </a:t>
                      </a:r>
                      <a:endParaRPr lang="it-IT" sz="1400" b="1" u="none" strike="noStrike" kern="1200" dirty="0" smtClean="0">
                        <a:solidFill>
                          <a:schemeClr val="accent1">
                            <a:lumMod val="75000"/>
                          </a:schemeClr>
                        </a:solidFill>
                        <a:effectLst/>
                        <a:latin typeface="+mn-lt"/>
                        <a:ea typeface="+mn-ea"/>
                        <a:cs typeface="+mn-cs"/>
                      </a:endParaRPr>
                    </a:p>
                    <a:p>
                      <a:pPr marL="0" algn="just" defTabSz="914400" rtl="0" eaLnBrk="1" fontAlgn="b" latinLnBrk="0" hangingPunct="1"/>
                      <a:endParaRPr lang="it-IT" sz="1400" b="1" u="none" strike="noStrike" kern="1200" dirty="0">
                        <a:solidFill>
                          <a:schemeClr val="accent1">
                            <a:lumMod val="75000"/>
                          </a:schemeClr>
                        </a:solidFill>
                        <a:effectLst/>
                        <a:latin typeface="+mn-lt"/>
                        <a:ea typeface="+mn-ea"/>
                        <a:cs typeface="+mn-cs"/>
                      </a:endParaRPr>
                    </a:p>
                  </a:txBody>
                  <a:tcPr marL="9525" marR="9525" marT="9525" marB="0" anchor="ctr"/>
                </a:tc>
              </a:tr>
              <a:tr h="366583">
                <a:tc gridSpan="2" vMerge="1">
                  <a:txBody>
                    <a:bodyPr/>
                    <a:lstStyle/>
                    <a:p>
                      <a:endParaRPr lang="it-IT"/>
                    </a:p>
                  </a:txBody>
                  <a:tcPr/>
                </a:tc>
                <a:tc hMerge="1" vMerge="1">
                  <a:txBody>
                    <a:bodyPr/>
                    <a:lstStyle/>
                    <a:p>
                      <a:endParaRPr lang="it-IT"/>
                    </a:p>
                  </a:txBody>
                  <a:tcPr/>
                </a:tc>
                <a:tc>
                  <a:txBody>
                    <a:bodyPr/>
                    <a:lstStyle/>
                    <a:p>
                      <a:pPr marL="0" algn="just" defTabSz="914400" rtl="0" eaLnBrk="1" fontAlgn="b" latinLnBrk="0" hangingPunct="1"/>
                      <a:r>
                        <a:rPr lang="it-IT" sz="1400" b="1" u="none" strike="noStrike" kern="1200" dirty="0">
                          <a:solidFill>
                            <a:schemeClr val="accent1">
                              <a:lumMod val="75000"/>
                            </a:schemeClr>
                          </a:solidFill>
                          <a:effectLst/>
                          <a:latin typeface="+mn-lt"/>
                          <a:ea typeface="+mn-ea"/>
                          <a:cs typeface="+mn-cs"/>
                        </a:rPr>
                        <a:t>Esiti del tavoli </a:t>
                      </a:r>
                      <a:r>
                        <a:rPr lang="it-IT" sz="1400" b="1" u="none" strike="noStrike" kern="1200" dirty="0" smtClean="0">
                          <a:solidFill>
                            <a:schemeClr val="accent1">
                              <a:lumMod val="75000"/>
                            </a:schemeClr>
                          </a:solidFill>
                          <a:effectLst/>
                          <a:latin typeface="+mn-lt"/>
                          <a:ea typeface="+mn-ea"/>
                          <a:cs typeface="+mn-cs"/>
                        </a:rPr>
                        <a:t>nazionali</a:t>
                      </a:r>
                    </a:p>
                    <a:p>
                      <a:pPr marL="0" algn="just" defTabSz="914400" rtl="0" eaLnBrk="1" fontAlgn="b" latinLnBrk="0" hangingPunct="1"/>
                      <a:endParaRPr lang="it-IT" sz="1400" b="1" u="none" strike="noStrike" kern="1200" dirty="0">
                        <a:solidFill>
                          <a:schemeClr val="accent1">
                            <a:lumMod val="75000"/>
                          </a:schemeClr>
                        </a:solidFill>
                        <a:effectLst/>
                        <a:latin typeface="+mn-lt"/>
                        <a:ea typeface="+mn-ea"/>
                        <a:cs typeface="+mn-cs"/>
                      </a:endParaRPr>
                    </a:p>
                  </a:txBody>
                  <a:tcPr marL="9525" marR="9525" marT="9525" marB="0" anchor="ctr"/>
                </a:tc>
              </a:tr>
              <a:tr h="366583">
                <a:tc gridSpan="2" vMerge="1">
                  <a:txBody>
                    <a:bodyPr/>
                    <a:lstStyle/>
                    <a:p>
                      <a:endParaRPr lang="it-IT"/>
                    </a:p>
                  </a:txBody>
                  <a:tcPr/>
                </a:tc>
                <a:tc hMerge="1" vMerge="1">
                  <a:txBody>
                    <a:bodyPr/>
                    <a:lstStyle/>
                    <a:p>
                      <a:endParaRPr lang="it-IT"/>
                    </a:p>
                  </a:txBody>
                  <a:tcPr/>
                </a:tc>
                <a:tc>
                  <a:txBody>
                    <a:bodyPr/>
                    <a:lstStyle/>
                    <a:p>
                      <a:pPr marL="0" algn="just" defTabSz="914400" rtl="0" eaLnBrk="1" fontAlgn="b" latinLnBrk="0" hangingPunct="1"/>
                      <a:r>
                        <a:rPr lang="it-IT" sz="1400" b="1" u="none" strike="noStrike" kern="1200" dirty="0">
                          <a:solidFill>
                            <a:schemeClr val="accent1">
                              <a:lumMod val="75000"/>
                            </a:schemeClr>
                          </a:solidFill>
                          <a:effectLst/>
                          <a:latin typeface="+mn-lt"/>
                          <a:ea typeface="+mn-ea"/>
                          <a:cs typeface="+mn-cs"/>
                        </a:rPr>
                        <a:t>Stato dell'arte e ambiti di approfondimento dell'ambito:</a:t>
                      </a:r>
                      <a:br>
                        <a:rPr lang="it-IT" sz="1400" b="1" u="none" strike="noStrike" kern="1200" dirty="0">
                          <a:solidFill>
                            <a:schemeClr val="accent1">
                              <a:lumMod val="75000"/>
                            </a:schemeClr>
                          </a:solidFill>
                          <a:effectLst/>
                          <a:latin typeface="+mn-lt"/>
                          <a:ea typeface="+mn-ea"/>
                          <a:cs typeface="+mn-cs"/>
                        </a:rPr>
                      </a:br>
                      <a:r>
                        <a:rPr lang="it-IT" sz="1400" b="1" u="none" strike="noStrike" kern="1200" dirty="0" smtClean="0">
                          <a:solidFill>
                            <a:srgbClr val="FF0000"/>
                          </a:solidFill>
                          <a:effectLst/>
                          <a:latin typeface="+mn-lt"/>
                          <a:ea typeface="+mn-ea"/>
                          <a:cs typeface="+mn-cs"/>
                        </a:rPr>
                        <a:t>Sistema produttivo</a:t>
                      </a:r>
                    </a:p>
                    <a:p>
                      <a:pPr marL="0" algn="just" defTabSz="914400" rtl="0" eaLnBrk="1" fontAlgn="b" latinLnBrk="0" hangingPunct="1"/>
                      <a:r>
                        <a:rPr lang="it-IT" sz="1400" b="1" u="none" strike="noStrike" kern="1200" dirty="0" smtClean="0">
                          <a:solidFill>
                            <a:srgbClr val="FF0000"/>
                          </a:solidFill>
                          <a:effectLst/>
                          <a:latin typeface="+mn-lt"/>
                          <a:ea typeface="+mn-ea"/>
                          <a:cs typeface="+mn-cs"/>
                        </a:rPr>
                        <a:t>Sistema </a:t>
                      </a:r>
                      <a:r>
                        <a:rPr lang="it-IT" sz="1400" b="1" u="none" strike="noStrike" kern="1200" dirty="0">
                          <a:solidFill>
                            <a:srgbClr val="FF0000"/>
                          </a:solidFill>
                          <a:effectLst/>
                          <a:latin typeface="+mn-lt"/>
                          <a:ea typeface="+mn-ea"/>
                          <a:cs typeface="+mn-cs"/>
                        </a:rPr>
                        <a:t>delle </a:t>
                      </a:r>
                      <a:r>
                        <a:rPr lang="it-IT" sz="1400" b="1" u="none" strike="noStrike" kern="1200" dirty="0" smtClean="0">
                          <a:solidFill>
                            <a:srgbClr val="FF0000"/>
                          </a:solidFill>
                          <a:effectLst/>
                          <a:latin typeface="+mn-lt"/>
                          <a:ea typeface="+mn-ea"/>
                          <a:cs typeface="+mn-cs"/>
                        </a:rPr>
                        <a:t>conoscenze </a:t>
                      </a:r>
                      <a:endParaRPr lang="it-IT" sz="1400" b="1" u="none" strike="noStrike" kern="1200" dirty="0">
                        <a:solidFill>
                          <a:srgbClr val="FF0000"/>
                        </a:solidFill>
                        <a:effectLst/>
                        <a:latin typeface="+mn-lt"/>
                        <a:ea typeface="+mn-ea"/>
                        <a:cs typeface="+mn-cs"/>
                      </a:endParaRPr>
                    </a:p>
                    <a:p>
                      <a:pPr marL="0" algn="just" defTabSz="914400" rtl="0" eaLnBrk="1" fontAlgn="b" latinLnBrk="0" hangingPunct="1"/>
                      <a:r>
                        <a:rPr lang="it-IT" sz="1400" b="1" u="none" strike="noStrike" kern="1200" dirty="0">
                          <a:solidFill>
                            <a:srgbClr val="FF0000"/>
                          </a:solidFill>
                          <a:effectLst/>
                          <a:latin typeface="+mn-lt"/>
                          <a:ea typeface="+mn-ea"/>
                          <a:cs typeface="+mn-cs"/>
                        </a:rPr>
                        <a:t>I</a:t>
                      </a:r>
                      <a:r>
                        <a:rPr lang="it-IT" sz="1400" b="1" u="none" strike="noStrike" kern="1200" dirty="0" smtClean="0">
                          <a:solidFill>
                            <a:srgbClr val="FF0000"/>
                          </a:solidFill>
                          <a:effectLst/>
                          <a:latin typeface="+mn-lt"/>
                          <a:ea typeface="+mn-ea"/>
                          <a:cs typeface="+mn-cs"/>
                        </a:rPr>
                        <a:t>ndicazioni </a:t>
                      </a:r>
                      <a:r>
                        <a:rPr lang="it-IT" sz="1400" b="1" u="none" strike="noStrike" kern="1200" dirty="0">
                          <a:solidFill>
                            <a:srgbClr val="FF0000"/>
                          </a:solidFill>
                          <a:effectLst/>
                          <a:latin typeface="+mn-lt"/>
                          <a:ea typeface="+mn-ea"/>
                          <a:cs typeface="+mn-cs"/>
                        </a:rPr>
                        <a:t>di </a:t>
                      </a:r>
                      <a:r>
                        <a:rPr lang="it-IT" sz="1400" b="1" u="none" strike="noStrike" kern="1200" dirty="0" smtClean="0">
                          <a:solidFill>
                            <a:srgbClr val="FF0000"/>
                          </a:solidFill>
                          <a:effectLst/>
                          <a:latin typeface="+mn-lt"/>
                          <a:ea typeface="+mn-ea"/>
                          <a:cs typeface="+mn-cs"/>
                        </a:rPr>
                        <a:t>priorità</a:t>
                      </a:r>
                    </a:p>
                    <a:p>
                      <a:pPr marL="0" algn="just" defTabSz="914400" rtl="0" eaLnBrk="1" fontAlgn="b" latinLnBrk="0" hangingPunct="1"/>
                      <a:r>
                        <a:rPr lang="it-IT" sz="1400" b="1" u="none" strike="noStrike" kern="1200" dirty="0" smtClean="0">
                          <a:solidFill>
                            <a:srgbClr val="FF0000"/>
                          </a:solidFill>
                          <a:effectLst/>
                          <a:latin typeface="+mn-lt"/>
                          <a:ea typeface="+mn-ea"/>
                          <a:cs typeface="+mn-cs"/>
                        </a:rPr>
                        <a:t>Contributo </a:t>
                      </a:r>
                      <a:r>
                        <a:rPr lang="it-IT" sz="1400" b="1" u="none" strike="noStrike" kern="1200" dirty="0">
                          <a:solidFill>
                            <a:srgbClr val="FF0000"/>
                          </a:solidFill>
                          <a:effectLst/>
                          <a:latin typeface="+mn-lt"/>
                          <a:ea typeface="+mn-ea"/>
                          <a:cs typeface="+mn-cs"/>
                        </a:rPr>
                        <a:t>delle </a:t>
                      </a:r>
                      <a:r>
                        <a:rPr lang="it-IT" sz="1400" b="1" u="none" strike="noStrike" kern="1200" dirty="0" smtClean="0">
                          <a:solidFill>
                            <a:srgbClr val="FF0000"/>
                          </a:solidFill>
                          <a:effectLst/>
                          <a:latin typeface="+mn-lt"/>
                          <a:ea typeface="+mn-ea"/>
                          <a:cs typeface="+mn-cs"/>
                        </a:rPr>
                        <a:t>KET </a:t>
                      </a:r>
                      <a:endParaRPr lang="it-IT" sz="1400" b="1" u="none" strike="noStrike" kern="1200" dirty="0">
                        <a:solidFill>
                          <a:srgbClr val="FF0000"/>
                        </a:solidFill>
                        <a:effectLst/>
                        <a:latin typeface="+mn-lt"/>
                        <a:ea typeface="+mn-ea"/>
                        <a:cs typeface="+mn-cs"/>
                      </a:endParaRPr>
                    </a:p>
                    <a:p>
                      <a:pPr marL="0" algn="just" defTabSz="914400" rtl="0" eaLnBrk="1" fontAlgn="b" latinLnBrk="0" hangingPunct="1"/>
                      <a:r>
                        <a:rPr lang="it-IT" sz="1400" b="1" u="none" strike="noStrike" kern="1200" dirty="0">
                          <a:solidFill>
                            <a:srgbClr val="FF0000"/>
                          </a:solidFill>
                          <a:effectLst/>
                          <a:latin typeface="+mn-lt"/>
                          <a:ea typeface="+mn-ea"/>
                          <a:cs typeface="+mn-cs"/>
                        </a:rPr>
                        <a:t>R</a:t>
                      </a:r>
                      <a:r>
                        <a:rPr lang="it-IT" sz="1400" b="1" u="none" strike="noStrike" kern="1200" dirty="0" smtClean="0">
                          <a:solidFill>
                            <a:srgbClr val="FF0000"/>
                          </a:solidFill>
                          <a:effectLst/>
                          <a:latin typeface="+mn-lt"/>
                          <a:ea typeface="+mn-ea"/>
                          <a:cs typeface="+mn-cs"/>
                        </a:rPr>
                        <a:t>uolo dell'innovazione sociale </a:t>
                      </a:r>
                      <a:endParaRPr lang="it-IT" sz="1400" b="1" u="none" strike="noStrike" kern="1200" dirty="0">
                        <a:solidFill>
                          <a:srgbClr val="FF0000"/>
                        </a:solidFill>
                        <a:effectLst/>
                        <a:latin typeface="+mn-lt"/>
                        <a:ea typeface="+mn-ea"/>
                        <a:cs typeface="+mn-cs"/>
                      </a:endParaRPr>
                    </a:p>
                    <a:p>
                      <a:pPr marL="0" algn="just" defTabSz="914400" rtl="0" eaLnBrk="1" fontAlgn="b" latinLnBrk="0" hangingPunct="1"/>
                      <a:r>
                        <a:rPr lang="it-IT" sz="1400" b="1" u="none" strike="noStrike" kern="1200" dirty="0">
                          <a:solidFill>
                            <a:srgbClr val="FF0000"/>
                          </a:solidFill>
                          <a:effectLst/>
                          <a:latin typeface="+mn-lt"/>
                          <a:ea typeface="+mn-ea"/>
                          <a:cs typeface="+mn-cs"/>
                        </a:rPr>
                        <a:t>I</a:t>
                      </a:r>
                      <a:r>
                        <a:rPr lang="it-IT" sz="1400" b="1" u="none" strike="noStrike" kern="1200" dirty="0" smtClean="0">
                          <a:solidFill>
                            <a:srgbClr val="FF0000"/>
                          </a:solidFill>
                          <a:effectLst/>
                          <a:latin typeface="+mn-lt"/>
                          <a:ea typeface="+mn-ea"/>
                          <a:cs typeface="+mn-cs"/>
                        </a:rPr>
                        <a:t>ntersezione </a:t>
                      </a:r>
                      <a:r>
                        <a:rPr lang="it-IT" sz="1400" b="1" u="none" strike="noStrike" kern="1200" dirty="0">
                          <a:solidFill>
                            <a:srgbClr val="FF0000"/>
                          </a:solidFill>
                          <a:effectLst/>
                          <a:latin typeface="+mn-lt"/>
                          <a:ea typeface="+mn-ea"/>
                          <a:cs typeface="+mn-cs"/>
                        </a:rPr>
                        <a:t>con altri ambiti tecnologici e </a:t>
                      </a:r>
                      <a:r>
                        <a:rPr lang="it-IT" sz="1400" b="1" u="none" strike="noStrike" kern="1200" dirty="0" smtClean="0">
                          <a:solidFill>
                            <a:srgbClr val="FF0000"/>
                          </a:solidFill>
                          <a:effectLst/>
                          <a:latin typeface="+mn-lt"/>
                          <a:ea typeface="+mn-ea"/>
                          <a:cs typeface="+mn-cs"/>
                        </a:rPr>
                        <a:t>produttivi</a:t>
                      </a:r>
                    </a:p>
                    <a:p>
                      <a:pPr marL="0" algn="just" defTabSz="914400" rtl="0" eaLnBrk="1" fontAlgn="b" latinLnBrk="0" hangingPunct="1"/>
                      <a:endParaRPr lang="it-IT" sz="1400" b="1" u="none" strike="noStrike" kern="1200" dirty="0">
                        <a:solidFill>
                          <a:schemeClr val="accent1">
                            <a:lumMod val="75000"/>
                          </a:schemeClr>
                        </a:solidFill>
                        <a:effectLst/>
                        <a:latin typeface="+mn-lt"/>
                        <a:ea typeface="+mn-ea"/>
                        <a:cs typeface="+mn-cs"/>
                      </a:endParaRPr>
                    </a:p>
                  </a:txBody>
                  <a:tcPr marL="9525" marR="9525" marT="9525" marB="0" anchor="ctr"/>
                </a:tc>
              </a:tr>
            </a:tbl>
          </a:graphicData>
        </a:graphic>
      </p:graphicFrame>
      <p:graphicFrame>
        <p:nvGraphicFramePr>
          <p:cNvPr id="4" name="Diagramma 3"/>
          <p:cNvGraphicFramePr/>
          <p:nvPr>
            <p:extLst/>
          </p:nvPr>
        </p:nvGraphicFramePr>
        <p:xfrm>
          <a:off x="1259632" y="1844824"/>
          <a:ext cx="7128792" cy="3693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1637810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Number Placeholder 5"/>
          <p:cNvSpPr>
            <a:spLocks noGrp="1"/>
          </p:cNvSpPr>
          <p:nvPr>
            <p:ph type="sldNum" sz="quarter" idx="4294967295"/>
          </p:nvPr>
        </p:nvSpPr>
        <p:spPr bwMode="auto">
          <a:xfrm>
            <a:off x="0" y="6131170"/>
            <a:ext cx="2057400" cy="337038"/>
          </a:xfrm>
          <a:prstGeom prst="rect">
            <a:avLst/>
          </a:prstGeom>
          <a:noFill/>
          <a:ln>
            <a:miter lim="800000"/>
            <a:headEnd/>
            <a:tailEnd/>
          </a:ln>
        </p:spPr>
        <p:txBody>
          <a:bodyPr/>
          <a:lstStyle/>
          <a:p>
            <a:fld id="{7F82A082-D13F-44DA-8257-855D720B2527}" type="slidenum">
              <a:rPr lang="en-US"/>
              <a:pPr/>
              <a:t>11</a:t>
            </a:fld>
            <a:r>
              <a:rPr lang="en-US"/>
              <a:t>|</a:t>
            </a:r>
          </a:p>
        </p:txBody>
      </p:sp>
      <p:grpSp>
        <p:nvGrpSpPr>
          <p:cNvPr id="32770" name="Gruppo 9"/>
          <p:cNvGrpSpPr>
            <a:grpSpLocks/>
          </p:cNvGrpSpPr>
          <p:nvPr/>
        </p:nvGrpSpPr>
        <p:grpSpPr bwMode="auto">
          <a:xfrm>
            <a:off x="2757854" y="1238250"/>
            <a:ext cx="5930412" cy="5035062"/>
            <a:chOff x="2088859" y="836713"/>
            <a:chExt cx="6392531" cy="5453162"/>
          </a:xfrm>
        </p:grpSpPr>
        <p:graphicFrame>
          <p:nvGraphicFramePr>
            <p:cNvPr id="48" name="Diagramma 47"/>
            <p:cNvGraphicFramePr/>
            <p:nvPr/>
          </p:nvGraphicFramePr>
          <p:xfrm>
            <a:off x="3951012" y="2432634"/>
            <a:ext cx="2519154" cy="22317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2784" name="Group 1"/>
            <p:cNvGrpSpPr>
              <a:grpSpLocks/>
            </p:cNvGrpSpPr>
            <p:nvPr/>
          </p:nvGrpSpPr>
          <p:grpSpPr bwMode="auto">
            <a:xfrm>
              <a:off x="2088859" y="836713"/>
              <a:ext cx="6392531" cy="5453162"/>
              <a:chOff x="1616075" y="669925"/>
              <a:chExt cx="6077711" cy="5515510"/>
            </a:xfrm>
          </p:grpSpPr>
          <p:sp>
            <p:nvSpPr>
              <p:cNvPr id="50" name="Krans 44"/>
              <p:cNvSpPr>
                <a:spLocks noChangeArrowheads="1"/>
              </p:cNvSpPr>
              <p:nvPr/>
            </p:nvSpPr>
            <p:spPr bwMode="auto">
              <a:xfrm>
                <a:off x="3005224" y="1801599"/>
                <a:ext cx="3171763" cy="3168689"/>
              </a:xfrm>
              <a:custGeom>
                <a:avLst/>
                <a:gdLst>
                  <a:gd name="T0" fmla="*/ 1585913 w 3171825"/>
                  <a:gd name="T1" fmla="*/ 0 h 3170238"/>
                  <a:gd name="T2" fmla="*/ 464503 w 3171825"/>
                  <a:gd name="T3" fmla="*/ 464270 h 3170238"/>
                  <a:gd name="T4" fmla="*/ 0 w 3171825"/>
                  <a:gd name="T5" fmla="*/ 1585119 h 3170238"/>
                  <a:gd name="T6" fmla="*/ 464503 w 3171825"/>
                  <a:gd name="T7" fmla="*/ 2705968 h 3170238"/>
                  <a:gd name="T8" fmla="*/ 1585913 w 3171825"/>
                  <a:gd name="T9" fmla="*/ 3170238 h 3170238"/>
                  <a:gd name="T10" fmla="*/ 2707322 w 3171825"/>
                  <a:gd name="T11" fmla="*/ 2705968 h 3170238"/>
                  <a:gd name="T12" fmla="*/ 3171825 w 3171825"/>
                  <a:gd name="T13" fmla="*/ 1585119 h 3170238"/>
                  <a:gd name="T14" fmla="*/ 2707322 w 3171825"/>
                  <a:gd name="T15" fmla="*/ 464270 h 3170238"/>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464503 w 3171825"/>
                  <a:gd name="T25" fmla="*/ 464270 h 3170238"/>
                  <a:gd name="T26" fmla="*/ 2707322 w 3171825"/>
                  <a:gd name="T27" fmla="*/ 2705968 h 31702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71825" h="3170238">
                    <a:moveTo>
                      <a:pt x="0" y="1585119"/>
                    </a:moveTo>
                    <a:lnTo>
                      <a:pt x="0" y="1585119"/>
                    </a:lnTo>
                    <a:cubicBezTo>
                      <a:pt x="1" y="709682"/>
                      <a:pt x="710038" y="1"/>
                      <a:pt x="1585913" y="1"/>
                    </a:cubicBezTo>
                    <a:cubicBezTo>
                      <a:pt x="1585914" y="1"/>
                      <a:pt x="1585914" y="2"/>
                      <a:pt x="1585915" y="2"/>
                    </a:cubicBezTo>
                    <a:cubicBezTo>
                      <a:pt x="2461790" y="3"/>
                      <a:pt x="3171827" y="709684"/>
                      <a:pt x="3171827" y="1585121"/>
                    </a:cubicBezTo>
                    <a:cubicBezTo>
                      <a:pt x="3171827" y="1585121"/>
                      <a:pt x="3171826" y="1585122"/>
                      <a:pt x="3171826" y="1585123"/>
                    </a:cubicBezTo>
                    <a:lnTo>
                      <a:pt x="3171827" y="1585124"/>
                    </a:lnTo>
                    <a:cubicBezTo>
                      <a:pt x="3171827" y="2460561"/>
                      <a:pt x="2461789" y="3170243"/>
                      <a:pt x="1585914" y="3170243"/>
                    </a:cubicBezTo>
                    <a:cubicBezTo>
                      <a:pt x="1585913" y="3170242"/>
                      <a:pt x="1585913" y="3170242"/>
                      <a:pt x="1585913" y="3170242"/>
                    </a:cubicBezTo>
                    <a:cubicBezTo>
                      <a:pt x="710037" y="3170242"/>
                      <a:pt x="1" y="2460560"/>
                      <a:pt x="1" y="1585124"/>
                    </a:cubicBezTo>
                    <a:cubicBezTo>
                      <a:pt x="1" y="1585123"/>
                      <a:pt x="1" y="1585122"/>
                      <a:pt x="1" y="1585122"/>
                    </a:cubicBezTo>
                    <a:close/>
                    <a:moveTo>
                      <a:pt x="529810" y="1585119"/>
                    </a:moveTo>
                    <a:lnTo>
                      <a:pt x="529810" y="1585119"/>
                    </a:lnTo>
                    <a:cubicBezTo>
                      <a:pt x="529810" y="1585119"/>
                      <a:pt x="529809" y="1585119"/>
                      <a:pt x="529809" y="1585119"/>
                    </a:cubicBezTo>
                    <a:cubicBezTo>
                      <a:pt x="529809" y="2167950"/>
                      <a:pt x="1002642" y="2640428"/>
                      <a:pt x="1585910" y="2640428"/>
                    </a:cubicBezTo>
                    <a:lnTo>
                      <a:pt x="1585911" y="2640428"/>
                    </a:lnTo>
                    <a:cubicBezTo>
                      <a:pt x="1585911" y="2640428"/>
                      <a:pt x="1585911" y="2640428"/>
                      <a:pt x="1585912" y="2640428"/>
                    </a:cubicBezTo>
                    <a:cubicBezTo>
                      <a:pt x="2169180" y="2640428"/>
                      <a:pt x="2642013" y="2167951"/>
                      <a:pt x="2642013" y="1585120"/>
                    </a:cubicBezTo>
                    <a:lnTo>
                      <a:pt x="2642014" y="1585121"/>
                    </a:lnTo>
                    <a:cubicBezTo>
                      <a:pt x="2642014" y="1002289"/>
                      <a:pt x="2169181" y="529812"/>
                      <a:pt x="1585912" y="529812"/>
                    </a:cubicBezTo>
                    <a:lnTo>
                      <a:pt x="1585911" y="529812"/>
                    </a:lnTo>
                    <a:cubicBezTo>
                      <a:pt x="1585911" y="529812"/>
                      <a:pt x="1585911" y="529811"/>
                      <a:pt x="1585911" y="529811"/>
                    </a:cubicBezTo>
                    <a:cubicBezTo>
                      <a:pt x="1002642" y="529811"/>
                      <a:pt x="529809" y="1002289"/>
                      <a:pt x="529809" y="1585120"/>
                    </a:cubicBezTo>
                    <a:close/>
                  </a:path>
                </a:pathLst>
              </a:custGeom>
              <a:gradFill rotWithShape="1">
                <a:gsLst>
                  <a:gs pos="0">
                    <a:srgbClr val="E6E6E6"/>
                  </a:gs>
                  <a:gs pos="100000">
                    <a:srgbClr val="FFFFFF"/>
                  </a:gs>
                </a:gsLst>
                <a:lin ang="16200000"/>
              </a:gradFill>
              <a:ln w="12700">
                <a:solidFill>
                  <a:srgbClr val="BFBFBF"/>
                </a:solidFill>
                <a:miter lim="800000"/>
                <a:headEnd/>
                <a:tailEnd/>
              </a:ln>
              <a:effectLst>
                <a:outerShdw blurRad="63500" dist="38100" dir="2700000" algn="tl" rotWithShape="0">
                  <a:srgbClr val="000000">
                    <a:alpha val="39999"/>
                  </a:srgbClr>
                </a:outerShdw>
              </a:effectLst>
            </p:spPr>
            <p:txBody>
              <a:bodyPr anchor="ctr"/>
              <a:lstStyle/>
              <a:p>
                <a:pPr algn="ctr">
                  <a:defRPr/>
                </a:pPr>
                <a:endParaRPr lang="en-US" sz="1015" dirty="0">
                  <a:solidFill>
                    <a:srgbClr val="FFFFFF"/>
                  </a:solidFill>
                  <a:latin typeface="Arial Narrow" charset="0"/>
                  <a:ea typeface="ＭＳ Ｐゴシック" pitchFamily="-112" charset="-128"/>
                </a:endParaRPr>
              </a:p>
            </p:txBody>
          </p:sp>
          <p:sp>
            <p:nvSpPr>
              <p:cNvPr id="52" name="Rektangulær billedforklaring 50"/>
              <p:cNvSpPr>
                <a:spLocks noChangeArrowheads="1"/>
              </p:cNvSpPr>
              <p:nvPr/>
            </p:nvSpPr>
            <p:spPr bwMode="auto">
              <a:xfrm>
                <a:off x="5100209" y="840078"/>
                <a:ext cx="1195418" cy="889288"/>
              </a:xfrm>
              <a:prstGeom prst="wedgeRectCallout">
                <a:avLst>
                  <a:gd name="adj1" fmla="val -29778"/>
                  <a:gd name="adj2" fmla="val 68806"/>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32787" name="Rektangel 51"/>
              <p:cNvSpPr>
                <a:spLocks noChangeArrowheads="1"/>
              </p:cNvSpPr>
              <p:nvPr/>
            </p:nvSpPr>
            <p:spPr bwMode="auto">
              <a:xfrm>
                <a:off x="5026328" y="911092"/>
                <a:ext cx="1206500" cy="798120"/>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Marzo ‘13</a:t>
                </a:r>
              </a:p>
              <a:p>
                <a:pPr algn="ctr" defTabSz="740038">
                  <a:spcBef>
                    <a:spcPct val="20000"/>
                  </a:spcBef>
                </a:pPr>
                <a:r>
                  <a:rPr lang="it-IT" sz="1292" b="1" noProof="1">
                    <a:solidFill>
                      <a:srgbClr val="00B0F0"/>
                    </a:solidFill>
                    <a:latin typeface="Calibri" pitchFamily="34" charset="0"/>
                    <a:cs typeface="Arial" charset="0"/>
                  </a:rPr>
                  <a:t>Analisi di contesto</a:t>
                </a:r>
              </a:p>
            </p:txBody>
          </p:sp>
          <p:sp>
            <p:nvSpPr>
              <p:cNvPr id="56" name="Rektangulær billedforklaring 52"/>
              <p:cNvSpPr>
                <a:spLocks noChangeArrowheads="1"/>
              </p:cNvSpPr>
              <p:nvPr/>
            </p:nvSpPr>
            <p:spPr bwMode="auto">
              <a:xfrm>
                <a:off x="6213029" y="1251012"/>
                <a:ext cx="1282522" cy="1081913"/>
              </a:xfrm>
              <a:prstGeom prst="wedgeRectCallout">
                <a:avLst>
                  <a:gd name="adj1" fmla="val -91509"/>
                  <a:gd name="adj2" fmla="val 49977"/>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32789" name="Rektangel 53"/>
              <p:cNvSpPr>
                <a:spLocks noChangeArrowheads="1"/>
              </p:cNvSpPr>
              <p:nvPr/>
            </p:nvSpPr>
            <p:spPr bwMode="auto">
              <a:xfrm>
                <a:off x="6271824" y="1292096"/>
                <a:ext cx="1359997" cy="1538644"/>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Aprile’13</a:t>
                </a:r>
              </a:p>
              <a:p>
                <a:pPr algn="ctr" defTabSz="740038">
                  <a:spcBef>
                    <a:spcPct val="20000"/>
                  </a:spcBef>
                </a:pPr>
                <a:r>
                  <a:rPr lang="it-IT" sz="1292" b="1" noProof="1">
                    <a:solidFill>
                      <a:srgbClr val="00B0F0"/>
                    </a:solidFill>
                    <a:latin typeface="Calibri" pitchFamily="34" charset="0"/>
                    <a:cs typeface="Arial" charset="0"/>
                  </a:rPr>
                  <a:t>Individuazione Principi guida  cambiamento</a:t>
                </a:r>
              </a:p>
              <a:p>
                <a:pPr defTabSz="740038">
                  <a:spcBef>
                    <a:spcPct val="20000"/>
                  </a:spcBef>
                </a:pPr>
                <a:endParaRPr lang="it-IT" sz="1292" b="1" noProof="1">
                  <a:solidFill>
                    <a:srgbClr val="080808"/>
                  </a:solidFill>
                  <a:latin typeface="Calibri" pitchFamily="34" charset="0"/>
                  <a:cs typeface="Arial" charset="0"/>
                </a:endParaRPr>
              </a:p>
              <a:p>
                <a:pPr defTabSz="740038">
                  <a:spcBef>
                    <a:spcPct val="20000"/>
                  </a:spcBef>
                </a:pPr>
                <a:endParaRPr lang="it-IT" sz="1292" b="1" noProof="1">
                  <a:solidFill>
                    <a:srgbClr val="080808"/>
                  </a:solidFill>
                  <a:latin typeface="Calibri" pitchFamily="34" charset="0"/>
                  <a:cs typeface="Arial" charset="0"/>
                </a:endParaRPr>
              </a:p>
            </p:txBody>
          </p:sp>
          <p:sp>
            <p:nvSpPr>
              <p:cNvPr id="58" name="Rektangulær billedforklaring 54"/>
              <p:cNvSpPr>
                <a:spLocks noChangeArrowheads="1"/>
              </p:cNvSpPr>
              <p:nvPr/>
            </p:nvSpPr>
            <p:spPr bwMode="auto">
              <a:xfrm>
                <a:off x="6340680" y="2392317"/>
                <a:ext cx="1353106" cy="958312"/>
              </a:xfrm>
              <a:prstGeom prst="wedgeRectCallout">
                <a:avLst>
                  <a:gd name="adj1" fmla="val -73676"/>
                  <a:gd name="adj2" fmla="val 16556"/>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32791" name="Rektangel 55"/>
              <p:cNvSpPr>
                <a:spLocks noChangeArrowheads="1"/>
              </p:cNvSpPr>
              <p:nvPr/>
            </p:nvSpPr>
            <p:spPr bwMode="auto">
              <a:xfrm>
                <a:off x="6430472" y="2464131"/>
                <a:ext cx="1173794" cy="798120"/>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Giugno ‘13</a:t>
                </a:r>
              </a:p>
              <a:p>
                <a:pPr algn="ctr" defTabSz="740038">
                  <a:spcBef>
                    <a:spcPct val="20000"/>
                  </a:spcBef>
                </a:pPr>
                <a:r>
                  <a:rPr lang="en-US" sz="1292" b="1">
                    <a:solidFill>
                      <a:srgbClr val="00B0F0"/>
                    </a:solidFill>
                    <a:latin typeface="Calibri" pitchFamily="34" charset="0"/>
                    <a:cs typeface="Arial" charset="0"/>
                  </a:rPr>
                  <a:t>Peer Review a Faro</a:t>
                </a:r>
              </a:p>
            </p:txBody>
          </p:sp>
          <p:sp>
            <p:nvSpPr>
              <p:cNvPr id="60" name="Freeform 100"/>
              <p:cNvSpPr>
                <a:spLocks/>
              </p:cNvSpPr>
              <p:nvPr/>
            </p:nvSpPr>
            <p:spPr bwMode="auto">
              <a:xfrm>
                <a:off x="4615134" y="1899518"/>
                <a:ext cx="720855" cy="496010"/>
              </a:xfrm>
              <a:custGeom>
                <a:avLst/>
                <a:gdLst>
                  <a:gd name="T0" fmla="*/ 2147483647 w 454"/>
                  <a:gd name="T1" fmla="*/ 2147483647 h 312"/>
                  <a:gd name="T2" fmla="*/ 2147483647 w 454"/>
                  <a:gd name="T3" fmla="*/ 2147483647 h 312"/>
                  <a:gd name="T4" fmla="*/ 2147483647 w 454"/>
                  <a:gd name="T5" fmla="*/ 2147483647 h 312"/>
                  <a:gd name="T6" fmla="*/ 2147483647 w 454"/>
                  <a:gd name="T7" fmla="*/ 2147483647 h 312"/>
                  <a:gd name="T8" fmla="*/ 2147483647 w 454"/>
                  <a:gd name="T9" fmla="*/ 2147483647 h 312"/>
                  <a:gd name="T10" fmla="*/ 2147483647 w 454"/>
                  <a:gd name="T11" fmla="*/ 2147483647 h 312"/>
                  <a:gd name="T12" fmla="*/ 2147483647 w 454"/>
                  <a:gd name="T13" fmla="*/ 2147483647 h 312"/>
                  <a:gd name="T14" fmla="*/ 2147483647 w 454"/>
                  <a:gd name="T15" fmla="*/ 2147483647 h 312"/>
                  <a:gd name="T16" fmla="*/ 2147483647 w 454"/>
                  <a:gd name="T17" fmla="*/ 2147483647 h 312"/>
                  <a:gd name="T18" fmla="*/ 0 w 454"/>
                  <a:gd name="T19" fmla="*/ 0 h 312"/>
                  <a:gd name="T20" fmla="*/ 0 w 454"/>
                  <a:gd name="T21" fmla="*/ 2147483647 h 312"/>
                  <a:gd name="T22" fmla="*/ 0 w 454"/>
                  <a:gd name="T23" fmla="*/ 2147483647 h 312"/>
                  <a:gd name="T24" fmla="*/ 2147483647 w 454"/>
                  <a:gd name="T25" fmla="*/ 2147483647 h 312"/>
                  <a:gd name="T26" fmla="*/ 2147483647 w 454"/>
                  <a:gd name="T27" fmla="*/ 2147483647 h 312"/>
                  <a:gd name="T28" fmla="*/ 2147483647 w 454"/>
                  <a:gd name="T29" fmla="*/ 2147483647 h 312"/>
                  <a:gd name="T30" fmla="*/ 2147483647 w 454"/>
                  <a:gd name="T31" fmla="*/ 2147483647 h 312"/>
                  <a:gd name="T32" fmla="*/ 2147483647 w 454"/>
                  <a:gd name="T33" fmla="*/ 2147483647 h 312"/>
                  <a:gd name="T34" fmla="*/ 2147483647 w 454"/>
                  <a:gd name="T35" fmla="*/ 2147483647 h 312"/>
                  <a:gd name="T36" fmla="*/ 2147483647 w 454"/>
                  <a:gd name="T37" fmla="*/ 2147483647 h 312"/>
                  <a:gd name="T38" fmla="*/ 2147483647 w 454"/>
                  <a:gd name="T39" fmla="*/ 2147483647 h 312"/>
                  <a:gd name="T40" fmla="*/ 2147483647 w 454"/>
                  <a:gd name="T41" fmla="*/ 2147483647 h 3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4"/>
                  <a:gd name="T64" fmla="*/ 0 h 312"/>
                  <a:gd name="T65" fmla="*/ 454 w 454"/>
                  <a:gd name="T66" fmla="*/ 312 h 3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4" h="312">
                    <a:moveTo>
                      <a:pt x="454" y="122"/>
                    </a:moveTo>
                    <a:lnTo>
                      <a:pt x="454" y="122"/>
                    </a:lnTo>
                    <a:lnTo>
                      <a:pt x="402" y="94"/>
                    </a:lnTo>
                    <a:lnTo>
                      <a:pt x="348" y="70"/>
                    </a:lnTo>
                    <a:lnTo>
                      <a:pt x="292" y="48"/>
                    </a:lnTo>
                    <a:lnTo>
                      <a:pt x="236" y="32"/>
                    </a:lnTo>
                    <a:lnTo>
                      <a:pt x="178" y="18"/>
                    </a:lnTo>
                    <a:lnTo>
                      <a:pt x="118" y="8"/>
                    </a:lnTo>
                    <a:lnTo>
                      <a:pt x="60" y="2"/>
                    </a:lnTo>
                    <a:lnTo>
                      <a:pt x="0" y="0"/>
                    </a:lnTo>
                    <a:lnTo>
                      <a:pt x="0" y="220"/>
                    </a:lnTo>
                    <a:lnTo>
                      <a:pt x="46" y="220"/>
                    </a:lnTo>
                    <a:lnTo>
                      <a:pt x="90" y="224"/>
                    </a:lnTo>
                    <a:lnTo>
                      <a:pt x="134" y="232"/>
                    </a:lnTo>
                    <a:lnTo>
                      <a:pt x="178" y="242"/>
                    </a:lnTo>
                    <a:lnTo>
                      <a:pt x="222" y="256"/>
                    </a:lnTo>
                    <a:lnTo>
                      <a:pt x="264" y="272"/>
                    </a:lnTo>
                    <a:lnTo>
                      <a:pt x="306" y="290"/>
                    </a:lnTo>
                    <a:lnTo>
                      <a:pt x="346" y="312"/>
                    </a:lnTo>
                    <a:lnTo>
                      <a:pt x="454" y="122"/>
                    </a:lnTo>
                    <a:close/>
                  </a:path>
                </a:pathLst>
              </a:custGeom>
              <a:ln/>
              <a:extLst/>
            </p:spPr>
            <p:style>
              <a:lnRef idx="2">
                <a:schemeClr val="accent2"/>
              </a:lnRef>
              <a:fillRef idx="1">
                <a:schemeClr val="lt1"/>
              </a:fillRef>
              <a:effectRef idx="0">
                <a:schemeClr val="accent2"/>
              </a:effectRef>
              <a:fontRef idx="minor">
                <a:schemeClr val="dk1"/>
              </a:fontRef>
            </p:style>
            <p:txBody>
              <a:bodyPr anchor="ctr"/>
              <a:lstStyle/>
              <a:p>
                <a:pPr>
                  <a:defRPr/>
                </a:pPr>
                <a:endParaRPr lang="en-US" sz="923" dirty="0"/>
              </a:p>
            </p:txBody>
          </p:sp>
          <p:sp>
            <p:nvSpPr>
              <p:cNvPr id="61" name="Freeform 101"/>
              <p:cNvSpPr>
                <a:spLocks/>
              </p:cNvSpPr>
              <p:nvPr/>
            </p:nvSpPr>
            <p:spPr bwMode="auto">
              <a:xfrm>
                <a:off x="5188814" y="2109800"/>
                <a:ext cx="701332" cy="701478"/>
              </a:xfrm>
              <a:custGeom>
                <a:avLst/>
                <a:gdLst>
                  <a:gd name="T0" fmla="*/ 2147483647 w 442"/>
                  <a:gd name="T1" fmla="*/ 2147483647 h 442"/>
                  <a:gd name="T2" fmla="*/ 2147483647 w 442"/>
                  <a:gd name="T3" fmla="*/ 2147483647 h 442"/>
                  <a:gd name="T4" fmla="*/ 2147483647 w 442"/>
                  <a:gd name="T5" fmla="*/ 2147483647 h 442"/>
                  <a:gd name="T6" fmla="*/ 2147483647 w 442"/>
                  <a:gd name="T7" fmla="*/ 2147483647 h 442"/>
                  <a:gd name="T8" fmla="*/ 2147483647 w 442"/>
                  <a:gd name="T9" fmla="*/ 2147483647 h 442"/>
                  <a:gd name="T10" fmla="*/ 2147483647 w 442"/>
                  <a:gd name="T11" fmla="*/ 2147483647 h 442"/>
                  <a:gd name="T12" fmla="*/ 2147483647 w 442"/>
                  <a:gd name="T13" fmla="*/ 2147483647 h 442"/>
                  <a:gd name="T14" fmla="*/ 2147483647 w 442"/>
                  <a:gd name="T15" fmla="*/ 2147483647 h 442"/>
                  <a:gd name="T16" fmla="*/ 2147483647 w 442"/>
                  <a:gd name="T17" fmla="*/ 2147483647 h 442"/>
                  <a:gd name="T18" fmla="*/ 2147483647 w 442"/>
                  <a:gd name="T19" fmla="*/ 0 h 442"/>
                  <a:gd name="T20" fmla="*/ 0 w 442"/>
                  <a:gd name="T21" fmla="*/ 2147483647 h 442"/>
                  <a:gd name="T22" fmla="*/ 0 w 442"/>
                  <a:gd name="T23" fmla="*/ 2147483647 h 442"/>
                  <a:gd name="T24" fmla="*/ 2147483647 w 442"/>
                  <a:gd name="T25" fmla="*/ 2147483647 h 442"/>
                  <a:gd name="T26" fmla="*/ 2147483647 w 442"/>
                  <a:gd name="T27" fmla="*/ 2147483647 h 442"/>
                  <a:gd name="T28" fmla="*/ 2147483647 w 442"/>
                  <a:gd name="T29" fmla="*/ 2147483647 h 442"/>
                  <a:gd name="T30" fmla="*/ 2147483647 w 442"/>
                  <a:gd name="T31" fmla="*/ 2147483647 h 442"/>
                  <a:gd name="T32" fmla="*/ 2147483647 w 442"/>
                  <a:gd name="T33" fmla="*/ 2147483647 h 442"/>
                  <a:gd name="T34" fmla="*/ 2147483647 w 442"/>
                  <a:gd name="T35" fmla="*/ 2147483647 h 442"/>
                  <a:gd name="T36" fmla="*/ 2147483647 w 442"/>
                  <a:gd name="T37" fmla="*/ 2147483647 h 442"/>
                  <a:gd name="T38" fmla="*/ 2147483647 w 442"/>
                  <a:gd name="T39" fmla="*/ 2147483647 h 442"/>
                  <a:gd name="T40" fmla="*/ 2147483647 w 442"/>
                  <a:gd name="T41" fmla="*/ 2147483647 h 4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42"/>
                  <a:gd name="T64" fmla="*/ 0 h 442"/>
                  <a:gd name="T65" fmla="*/ 442 w 442"/>
                  <a:gd name="T66" fmla="*/ 442 h 44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42" h="442">
                    <a:moveTo>
                      <a:pt x="442" y="332"/>
                    </a:moveTo>
                    <a:lnTo>
                      <a:pt x="442" y="332"/>
                    </a:lnTo>
                    <a:lnTo>
                      <a:pt x="412" y="282"/>
                    </a:lnTo>
                    <a:lnTo>
                      <a:pt x="376" y="232"/>
                    </a:lnTo>
                    <a:lnTo>
                      <a:pt x="338" y="186"/>
                    </a:lnTo>
                    <a:lnTo>
                      <a:pt x="298" y="144"/>
                    </a:lnTo>
                    <a:lnTo>
                      <a:pt x="254" y="104"/>
                    </a:lnTo>
                    <a:lnTo>
                      <a:pt x="208" y="66"/>
                    </a:lnTo>
                    <a:lnTo>
                      <a:pt x="160" y="30"/>
                    </a:lnTo>
                    <a:lnTo>
                      <a:pt x="110" y="0"/>
                    </a:lnTo>
                    <a:lnTo>
                      <a:pt x="0" y="188"/>
                    </a:lnTo>
                    <a:lnTo>
                      <a:pt x="40" y="212"/>
                    </a:lnTo>
                    <a:lnTo>
                      <a:pt x="76" y="238"/>
                    </a:lnTo>
                    <a:lnTo>
                      <a:pt x="110" y="268"/>
                    </a:lnTo>
                    <a:lnTo>
                      <a:pt x="144" y="298"/>
                    </a:lnTo>
                    <a:lnTo>
                      <a:pt x="174" y="330"/>
                    </a:lnTo>
                    <a:lnTo>
                      <a:pt x="204" y="366"/>
                    </a:lnTo>
                    <a:lnTo>
                      <a:pt x="230" y="402"/>
                    </a:lnTo>
                    <a:lnTo>
                      <a:pt x="254" y="442"/>
                    </a:lnTo>
                    <a:lnTo>
                      <a:pt x="442" y="332"/>
                    </a:lnTo>
                    <a:close/>
                  </a:path>
                </a:pathLst>
              </a:custGeom>
              <a:ln/>
              <a:extLst/>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923" dirty="0"/>
              </a:p>
            </p:txBody>
          </p:sp>
          <p:sp>
            <p:nvSpPr>
              <p:cNvPr id="62" name="Freeform 102"/>
              <p:cNvSpPr>
                <a:spLocks/>
              </p:cNvSpPr>
              <p:nvPr/>
            </p:nvSpPr>
            <p:spPr bwMode="auto">
              <a:xfrm>
                <a:off x="5604807" y="2665204"/>
                <a:ext cx="495588" cy="720741"/>
              </a:xfrm>
              <a:custGeom>
                <a:avLst/>
                <a:gdLst>
                  <a:gd name="T0" fmla="*/ 2147483647 w 312"/>
                  <a:gd name="T1" fmla="*/ 2147483647 h 454"/>
                  <a:gd name="T2" fmla="*/ 2147483647 w 312"/>
                  <a:gd name="T3" fmla="*/ 2147483647 h 454"/>
                  <a:gd name="T4" fmla="*/ 2147483647 w 312"/>
                  <a:gd name="T5" fmla="*/ 2147483647 h 454"/>
                  <a:gd name="T6" fmla="*/ 2147483647 w 312"/>
                  <a:gd name="T7" fmla="*/ 2147483647 h 454"/>
                  <a:gd name="T8" fmla="*/ 2147483647 w 312"/>
                  <a:gd name="T9" fmla="*/ 2147483647 h 454"/>
                  <a:gd name="T10" fmla="*/ 2147483647 w 312"/>
                  <a:gd name="T11" fmla="*/ 2147483647 h 454"/>
                  <a:gd name="T12" fmla="*/ 2147483647 w 312"/>
                  <a:gd name="T13" fmla="*/ 2147483647 h 454"/>
                  <a:gd name="T14" fmla="*/ 2147483647 w 312"/>
                  <a:gd name="T15" fmla="*/ 2147483647 h 454"/>
                  <a:gd name="T16" fmla="*/ 2147483647 w 312"/>
                  <a:gd name="T17" fmla="*/ 2147483647 h 454"/>
                  <a:gd name="T18" fmla="*/ 2147483647 w 312"/>
                  <a:gd name="T19" fmla="*/ 0 h 454"/>
                  <a:gd name="T20" fmla="*/ 0 w 312"/>
                  <a:gd name="T21" fmla="*/ 2147483647 h 454"/>
                  <a:gd name="T22" fmla="*/ 0 w 312"/>
                  <a:gd name="T23" fmla="*/ 2147483647 h 454"/>
                  <a:gd name="T24" fmla="*/ 2147483647 w 312"/>
                  <a:gd name="T25" fmla="*/ 2147483647 h 454"/>
                  <a:gd name="T26" fmla="*/ 2147483647 w 312"/>
                  <a:gd name="T27" fmla="*/ 2147483647 h 454"/>
                  <a:gd name="T28" fmla="*/ 2147483647 w 312"/>
                  <a:gd name="T29" fmla="*/ 2147483647 h 454"/>
                  <a:gd name="T30" fmla="*/ 2147483647 w 312"/>
                  <a:gd name="T31" fmla="*/ 2147483647 h 454"/>
                  <a:gd name="T32" fmla="*/ 2147483647 w 312"/>
                  <a:gd name="T33" fmla="*/ 2147483647 h 454"/>
                  <a:gd name="T34" fmla="*/ 2147483647 w 312"/>
                  <a:gd name="T35" fmla="*/ 2147483647 h 454"/>
                  <a:gd name="T36" fmla="*/ 2147483647 w 312"/>
                  <a:gd name="T37" fmla="*/ 2147483647 h 454"/>
                  <a:gd name="T38" fmla="*/ 2147483647 w 312"/>
                  <a:gd name="T39" fmla="*/ 2147483647 h 454"/>
                  <a:gd name="T40" fmla="*/ 2147483647 w 312"/>
                  <a:gd name="T41" fmla="*/ 2147483647 h 4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2"/>
                  <a:gd name="T64" fmla="*/ 0 h 454"/>
                  <a:gd name="T65" fmla="*/ 312 w 312"/>
                  <a:gd name="T66" fmla="*/ 454 h 4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2" h="454">
                    <a:moveTo>
                      <a:pt x="312" y="454"/>
                    </a:moveTo>
                    <a:lnTo>
                      <a:pt x="312" y="454"/>
                    </a:lnTo>
                    <a:lnTo>
                      <a:pt x="310" y="394"/>
                    </a:lnTo>
                    <a:lnTo>
                      <a:pt x="304" y="334"/>
                    </a:lnTo>
                    <a:lnTo>
                      <a:pt x="294" y="276"/>
                    </a:lnTo>
                    <a:lnTo>
                      <a:pt x="280" y="218"/>
                    </a:lnTo>
                    <a:lnTo>
                      <a:pt x="262" y="162"/>
                    </a:lnTo>
                    <a:lnTo>
                      <a:pt x="242" y="106"/>
                    </a:lnTo>
                    <a:lnTo>
                      <a:pt x="218" y="52"/>
                    </a:lnTo>
                    <a:lnTo>
                      <a:pt x="190" y="0"/>
                    </a:lnTo>
                    <a:lnTo>
                      <a:pt x="0" y="108"/>
                    </a:lnTo>
                    <a:lnTo>
                      <a:pt x="22" y="148"/>
                    </a:lnTo>
                    <a:lnTo>
                      <a:pt x="40" y="190"/>
                    </a:lnTo>
                    <a:lnTo>
                      <a:pt x="56" y="232"/>
                    </a:lnTo>
                    <a:lnTo>
                      <a:pt x="70" y="276"/>
                    </a:lnTo>
                    <a:lnTo>
                      <a:pt x="80" y="318"/>
                    </a:lnTo>
                    <a:lnTo>
                      <a:pt x="86" y="364"/>
                    </a:lnTo>
                    <a:lnTo>
                      <a:pt x="92" y="408"/>
                    </a:lnTo>
                    <a:lnTo>
                      <a:pt x="92" y="454"/>
                    </a:lnTo>
                    <a:lnTo>
                      <a:pt x="312" y="454"/>
                    </a:lnTo>
                    <a:close/>
                  </a:path>
                </a:pathLst>
              </a:custGeom>
              <a:ln/>
              <a:extLst/>
            </p:spPr>
            <p:style>
              <a:lnRef idx="2">
                <a:schemeClr val="accent2"/>
              </a:lnRef>
              <a:fillRef idx="1">
                <a:schemeClr val="lt1"/>
              </a:fillRef>
              <a:effectRef idx="0">
                <a:schemeClr val="accent2"/>
              </a:effectRef>
              <a:fontRef idx="minor">
                <a:schemeClr val="dk1"/>
              </a:fontRef>
            </p:style>
            <p:txBody>
              <a:bodyPr anchor="ctr"/>
              <a:lstStyle/>
              <a:p>
                <a:pPr>
                  <a:defRPr/>
                </a:pPr>
                <a:endParaRPr lang="en-US" sz="923" dirty="0"/>
              </a:p>
            </p:txBody>
          </p:sp>
          <p:sp>
            <p:nvSpPr>
              <p:cNvPr id="63" name="Freeform 103"/>
              <p:cNvSpPr>
                <a:spLocks/>
              </p:cNvSpPr>
              <p:nvPr/>
            </p:nvSpPr>
            <p:spPr bwMode="auto">
              <a:xfrm>
                <a:off x="5606309" y="3414838"/>
                <a:ext cx="494086" cy="720740"/>
              </a:xfrm>
              <a:custGeom>
                <a:avLst/>
                <a:gdLst>
                  <a:gd name="T0" fmla="*/ 2147483647 w 312"/>
                  <a:gd name="T1" fmla="*/ 2147483647 h 454"/>
                  <a:gd name="T2" fmla="*/ 2147483647 w 312"/>
                  <a:gd name="T3" fmla="*/ 2147483647 h 454"/>
                  <a:gd name="T4" fmla="*/ 2147483647 w 312"/>
                  <a:gd name="T5" fmla="*/ 2147483647 h 454"/>
                  <a:gd name="T6" fmla="*/ 2147483647 w 312"/>
                  <a:gd name="T7" fmla="*/ 2147483647 h 454"/>
                  <a:gd name="T8" fmla="*/ 2147483647 w 312"/>
                  <a:gd name="T9" fmla="*/ 2147483647 h 454"/>
                  <a:gd name="T10" fmla="*/ 2147483647 w 312"/>
                  <a:gd name="T11" fmla="*/ 2147483647 h 454"/>
                  <a:gd name="T12" fmla="*/ 2147483647 w 312"/>
                  <a:gd name="T13" fmla="*/ 2147483647 h 454"/>
                  <a:gd name="T14" fmla="*/ 2147483647 w 312"/>
                  <a:gd name="T15" fmla="*/ 2147483647 h 454"/>
                  <a:gd name="T16" fmla="*/ 2147483647 w 312"/>
                  <a:gd name="T17" fmla="*/ 2147483647 h 454"/>
                  <a:gd name="T18" fmla="*/ 2147483647 w 312"/>
                  <a:gd name="T19" fmla="*/ 0 h 454"/>
                  <a:gd name="T20" fmla="*/ 2147483647 w 312"/>
                  <a:gd name="T21" fmla="*/ 0 h 454"/>
                  <a:gd name="T22" fmla="*/ 2147483647 w 312"/>
                  <a:gd name="T23" fmla="*/ 0 h 454"/>
                  <a:gd name="T24" fmla="*/ 2147483647 w 312"/>
                  <a:gd name="T25" fmla="*/ 2147483647 h 454"/>
                  <a:gd name="T26" fmla="*/ 2147483647 w 312"/>
                  <a:gd name="T27" fmla="*/ 2147483647 h 454"/>
                  <a:gd name="T28" fmla="*/ 2147483647 w 312"/>
                  <a:gd name="T29" fmla="*/ 2147483647 h 454"/>
                  <a:gd name="T30" fmla="*/ 2147483647 w 312"/>
                  <a:gd name="T31" fmla="*/ 2147483647 h 454"/>
                  <a:gd name="T32" fmla="*/ 2147483647 w 312"/>
                  <a:gd name="T33" fmla="*/ 2147483647 h 454"/>
                  <a:gd name="T34" fmla="*/ 2147483647 w 312"/>
                  <a:gd name="T35" fmla="*/ 2147483647 h 454"/>
                  <a:gd name="T36" fmla="*/ 2147483647 w 312"/>
                  <a:gd name="T37" fmla="*/ 2147483647 h 454"/>
                  <a:gd name="T38" fmla="*/ 0 w 312"/>
                  <a:gd name="T39" fmla="*/ 2147483647 h 454"/>
                  <a:gd name="T40" fmla="*/ 2147483647 w 312"/>
                  <a:gd name="T41" fmla="*/ 2147483647 h 4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2"/>
                  <a:gd name="T64" fmla="*/ 0 h 454"/>
                  <a:gd name="T65" fmla="*/ 312 w 312"/>
                  <a:gd name="T66" fmla="*/ 454 h 4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2" h="454">
                    <a:moveTo>
                      <a:pt x="190" y="454"/>
                    </a:moveTo>
                    <a:lnTo>
                      <a:pt x="190" y="454"/>
                    </a:lnTo>
                    <a:lnTo>
                      <a:pt x="218" y="402"/>
                    </a:lnTo>
                    <a:lnTo>
                      <a:pt x="242" y="346"/>
                    </a:lnTo>
                    <a:lnTo>
                      <a:pt x="262" y="292"/>
                    </a:lnTo>
                    <a:lnTo>
                      <a:pt x="280" y="234"/>
                    </a:lnTo>
                    <a:lnTo>
                      <a:pt x="294" y="176"/>
                    </a:lnTo>
                    <a:lnTo>
                      <a:pt x="304" y="118"/>
                    </a:lnTo>
                    <a:lnTo>
                      <a:pt x="310" y="58"/>
                    </a:lnTo>
                    <a:lnTo>
                      <a:pt x="312" y="0"/>
                    </a:lnTo>
                    <a:lnTo>
                      <a:pt x="92" y="0"/>
                    </a:lnTo>
                    <a:lnTo>
                      <a:pt x="92" y="44"/>
                    </a:lnTo>
                    <a:lnTo>
                      <a:pt x="86" y="90"/>
                    </a:lnTo>
                    <a:lnTo>
                      <a:pt x="80" y="134"/>
                    </a:lnTo>
                    <a:lnTo>
                      <a:pt x="70" y="178"/>
                    </a:lnTo>
                    <a:lnTo>
                      <a:pt x="56" y="222"/>
                    </a:lnTo>
                    <a:lnTo>
                      <a:pt x="40" y="264"/>
                    </a:lnTo>
                    <a:lnTo>
                      <a:pt x="22" y="304"/>
                    </a:lnTo>
                    <a:lnTo>
                      <a:pt x="0" y="344"/>
                    </a:lnTo>
                    <a:lnTo>
                      <a:pt x="190" y="454"/>
                    </a:lnTo>
                    <a:close/>
                  </a:path>
                </a:pathLst>
              </a:custGeom>
              <a:ln/>
              <a:extLst/>
            </p:spPr>
            <p:style>
              <a:lnRef idx="2">
                <a:schemeClr val="accent2"/>
              </a:lnRef>
              <a:fillRef idx="1">
                <a:schemeClr val="lt1"/>
              </a:fillRef>
              <a:effectRef idx="0">
                <a:schemeClr val="accent2"/>
              </a:effectRef>
              <a:fontRef idx="minor">
                <a:schemeClr val="dk1"/>
              </a:fontRef>
            </p:style>
            <p:txBody>
              <a:bodyPr anchor="ctr"/>
              <a:lstStyle/>
              <a:p>
                <a:pPr>
                  <a:defRPr/>
                </a:pPr>
                <a:endParaRPr lang="en-US" sz="1015" dirty="0"/>
              </a:p>
            </p:txBody>
          </p:sp>
          <p:sp>
            <p:nvSpPr>
              <p:cNvPr id="64" name="Freeform 104"/>
              <p:cNvSpPr>
                <a:spLocks/>
              </p:cNvSpPr>
              <p:nvPr/>
            </p:nvSpPr>
            <p:spPr bwMode="auto">
              <a:xfrm>
                <a:off x="5190315" y="3991109"/>
                <a:ext cx="699830" cy="699873"/>
              </a:xfrm>
              <a:custGeom>
                <a:avLst/>
                <a:gdLst>
                  <a:gd name="T0" fmla="*/ 2147483647 w 442"/>
                  <a:gd name="T1" fmla="*/ 2147483647 h 442"/>
                  <a:gd name="T2" fmla="*/ 2147483647 w 442"/>
                  <a:gd name="T3" fmla="*/ 2147483647 h 442"/>
                  <a:gd name="T4" fmla="*/ 2147483647 w 442"/>
                  <a:gd name="T5" fmla="*/ 2147483647 h 442"/>
                  <a:gd name="T6" fmla="*/ 2147483647 w 442"/>
                  <a:gd name="T7" fmla="*/ 2147483647 h 442"/>
                  <a:gd name="T8" fmla="*/ 2147483647 w 442"/>
                  <a:gd name="T9" fmla="*/ 2147483647 h 442"/>
                  <a:gd name="T10" fmla="*/ 2147483647 w 442"/>
                  <a:gd name="T11" fmla="*/ 2147483647 h 442"/>
                  <a:gd name="T12" fmla="*/ 2147483647 w 442"/>
                  <a:gd name="T13" fmla="*/ 2147483647 h 442"/>
                  <a:gd name="T14" fmla="*/ 2147483647 w 442"/>
                  <a:gd name="T15" fmla="*/ 2147483647 h 442"/>
                  <a:gd name="T16" fmla="*/ 2147483647 w 442"/>
                  <a:gd name="T17" fmla="*/ 2147483647 h 442"/>
                  <a:gd name="T18" fmla="*/ 2147483647 w 442"/>
                  <a:gd name="T19" fmla="*/ 2147483647 h 442"/>
                  <a:gd name="T20" fmla="*/ 2147483647 w 442"/>
                  <a:gd name="T21" fmla="*/ 0 h 442"/>
                  <a:gd name="T22" fmla="*/ 2147483647 w 442"/>
                  <a:gd name="T23" fmla="*/ 0 h 442"/>
                  <a:gd name="T24" fmla="*/ 2147483647 w 442"/>
                  <a:gd name="T25" fmla="*/ 2147483647 h 442"/>
                  <a:gd name="T26" fmla="*/ 2147483647 w 442"/>
                  <a:gd name="T27" fmla="*/ 2147483647 h 442"/>
                  <a:gd name="T28" fmla="*/ 2147483647 w 442"/>
                  <a:gd name="T29" fmla="*/ 2147483647 h 442"/>
                  <a:gd name="T30" fmla="*/ 2147483647 w 442"/>
                  <a:gd name="T31" fmla="*/ 2147483647 h 442"/>
                  <a:gd name="T32" fmla="*/ 2147483647 w 442"/>
                  <a:gd name="T33" fmla="*/ 2147483647 h 442"/>
                  <a:gd name="T34" fmla="*/ 2147483647 w 442"/>
                  <a:gd name="T35" fmla="*/ 2147483647 h 442"/>
                  <a:gd name="T36" fmla="*/ 2147483647 w 442"/>
                  <a:gd name="T37" fmla="*/ 2147483647 h 442"/>
                  <a:gd name="T38" fmla="*/ 0 w 442"/>
                  <a:gd name="T39" fmla="*/ 2147483647 h 442"/>
                  <a:gd name="T40" fmla="*/ 2147483647 w 442"/>
                  <a:gd name="T41" fmla="*/ 2147483647 h 4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42"/>
                  <a:gd name="T64" fmla="*/ 0 h 442"/>
                  <a:gd name="T65" fmla="*/ 442 w 442"/>
                  <a:gd name="T66" fmla="*/ 442 h 44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42" h="442">
                    <a:moveTo>
                      <a:pt x="110" y="442"/>
                    </a:moveTo>
                    <a:lnTo>
                      <a:pt x="110" y="442"/>
                    </a:lnTo>
                    <a:lnTo>
                      <a:pt x="160" y="410"/>
                    </a:lnTo>
                    <a:lnTo>
                      <a:pt x="208" y="376"/>
                    </a:lnTo>
                    <a:lnTo>
                      <a:pt x="254" y="338"/>
                    </a:lnTo>
                    <a:lnTo>
                      <a:pt x="298" y="298"/>
                    </a:lnTo>
                    <a:lnTo>
                      <a:pt x="338" y="254"/>
                    </a:lnTo>
                    <a:lnTo>
                      <a:pt x="376" y="208"/>
                    </a:lnTo>
                    <a:lnTo>
                      <a:pt x="412" y="160"/>
                    </a:lnTo>
                    <a:lnTo>
                      <a:pt x="442" y="108"/>
                    </a:lnTo>
                    <a:lnTo>
                      <a:pt x="254" y="0"/>
                    </a:lnTo>
                    <a:lnTo>
                      <a:pt x="230" y="38"/>
                    </a:lnTo>
                    <a:lnTo>
                      <a:pt x="204" y="76"/>
                    </a:lnTo>
                    <a:lnTo>
                      <a:pt x="174" y="110"/>
                    </a:lnTo>
                    <a:lnTo>
                      <a:pt x="144" y="144"/>
                    </a:lnTo>
                    <a:lnTo>
                      <a:pt x="110" y="174"/>
                    </a:lnTo>
                    <a:lnTo>
                      <a:pt x="76" y="202"/>
                    </a:lnTo>
                    <a:lnTo>
                      <a:pt x="40" y="228"/>
                    </a:lnTo>
                    <a:lnTo>
                      <a:pt x="0" y="252"/>
                    </a:lnTo>
                    <a:lnTo>
                      <a:pt x="110" y="442"/>
                    </a:lnTo>
                    <a:close/>
                  </a:path>
                </a:pathLst>
              </a:custGeom>
              <a:ln/>
              <a:extLst/>
            </p:spPr>
            <p:style>
              <a:lnRef idx="2">
                <a:schemeClr val="accent2"/>
              </a:lnRef>
              <a:fillRef idx="1">
                <a:schemeClr val="lt1"/>
              </a:fillRef>
              <a:effectRef idx="0">
                <a:schemeClr val="accent2"/>
              </a:effectRef>
              <a:fontRef idx="minor">
                <a:schemeClr val="dk1"/>
              </a:fontRef>
            </p:style>
            <p:txBody>
              <a:bodyPr anchor="ctr"/>
              <a:lstStyle/>
              <a:p>
                <a:pPr>
                  <a:defRPr/>
                </a:pPr>
                <a:endParaRPr lang="en-US" sz="1015" dirty="0"/>
              </a:p>
            </p:txBody>
          </p:sp>
          <p:sp>
            <p:nvSpPr>
              <p:cNvPr id="65" name="Freeform 105"/>
              <p:cNvSpPr>
                <a:spLocks/>
              </p:cNvSpPr>
              <p:nvPr/>
            </p:nvSpPr>
            <p:spPr bwMode="auto">
              <a:xfrm>
                <a:off x="4615134" y="4403649"/>
                <a:ext cx="720855" cy="494405"/>
              </a:xfrm>
              <a:custGeom>
                <a:avLst/>
                <a:gdLst>
                  <a:gd name="T0" fmla="*/ 0 w 454"/>
                  <a:gd name="T1" fmla="*/ 2147483647 h 310"/>
                  <a:gd name="T2" fmla="*/ 0 w 454"/>
                  <a:gd name="T3" fmla="*/ 2147483647 h 310"/>
                  <a:gd name="T4" fmla="*/ 2147483647 w 454"/>
                  <a:gd name="T5" fmla="*/ 2147483647 h 310"/>
                  <a:gd name="T6" fmla="*/ 2147483647 w 454"/>
                  <a:gd name="T7" fmla="*/ 2147483647 h 310"/>
                  <a:gd name="T8" fmla="*/ 2147483647 w 454"/>
                  <a:gd name="T9" fmla="*/ 2147483647 h 310"/>
                  <a:gd name="T10" fmla="*/ 2147483647 w 454"/>
                  <a:gd name="T11" fmla="*/ 2147483647 h 310"/>
                  <a:gd name="T12" fmla="*/ 2147483647 w 454"/>
                  <a:gd name="T13" fmla="*/ 2147483647 h 310"/>
                  <a:gd name="T14" fmla="*/ 2147483647 w 454"/>
                  <a:gd name="T15" fmla="*/ 2147483647 h 310"/>
                  <a:gd name="T16" fmla="*/ 2147483647 w 454"/>
                  <a:gd name="T17" fmla="*/ 2147483647 h 310"/>
                  <a:gd name="T18" fmla="*/ 2147483647 w 454"/>
                  <a:gd name="T19" fmla="*/ 2147483647 h 310"/>
                  <a:gd name="T20" fmla="*/ 2147483647 w 454"/>
                  <a:gd name="T21" fmla="*/ 0 h 310"/>
                  <a:gd name="T22" fmla="*/ 2147483647 w 454"/>
                  <a:gd name="T23" fmla="*/ 0 h 310"/>
                  <a:gd name="T24" fmla="*/ 2147483647 w 454"/>
                  <a:gd name="T25" fmla="*/ 2147483647 h 310"/>
                  <a:gd name="T26" fmla="*/ 2147483647 w 454"/>
                  <a:gd name="T27" fmla="*/ 2147483647 h 310"/>
                  <a:gd name="T28" fmla="*/ 2147483647 w 454"/>
                  <a:gd name="T29" fmla="*/ 2147483647 h 310"/>
                  <a:gd name="T30" fmla="*/ 2147483647 w 454"/>
                  <a:gd name="T31" fmla="*/ 2147483647 h 310"/>
                  <a:gd name="T32" fmla="*/ 2147483647 w 454"/>
                  <a:gd name="T33" fmla="*/ 2147483647 h 310"/>
                  <a:gd name="T34" fmla="*/ 2147483647 w 454"/>
                  <a:gd name="T35" fmla="*/ 2147483647 h 310"/>
                  <a:gd name="T36" fmla="*/ 2147483647 w 454"/>
                  <a:gd name="T37" fmla="*/ 2147483647 h 310"/>
                  <a:gd name="T38" fmla="*/ 0 w 454"/>
                  <a:gd name="T39" fmla="*/ 2147483647 h 310"/>
                  <a:gd name="T40" fmla="*/ 0 w 454"/>
                  <a:gd name="T41" fmla="*/ 2147483647 h 3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4"/>
                  <a:gd name="T64" fmla="*/ 0 h 310"/>
                  <a:gd name="T65" fmla="*/ 454 w 454"/>
                  <a:gd name="T66" fmla="*/ 310 h 31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4" h="310">
                    <a:moveTo>
                      <a:pt x="0" y="310"/>
                    </a:moveTo>
                    <a:lnTo>
                      <a:pt x="0" y="310"/>
                    </a:lnTo>
                    <a:lnTo>
                      <a:pt x="60" y="308"/>
                    </a:lnTo>
                    <a:lnTo>
                      <a:pt x="118" y="302"/>
                    </a:lnTo>
                    <a:lnTo>
                      <a:pt x="178" y="292"/>
                    </a:lnTo>
                    <a:lnTo>
                      <a:pt x="236" y="280"/>
                    </a:lnTo>
                    <a:lnTo>
                      <a:pt x="292" y="262"/>
                    </a:lnTo>
                    <a:lnTo>
                      <a:pt x="348" y="242"/>
                    </a:lnTo>
                    <a:lnTo>
                      <a:pt x="402" y="216"/>
                    </a:lnTo>
                    <a:lnTo>
                      <a:pt x="454" y="188"/>
                    </a:lnTo>
                    <a:lnTo>
                      <a:pt x="346" y="0"/>
                    </a:lnTo>
                    <a:lnTo>
                      <a:pt x="306" y="20"/>
                    </a:lnTo>
                    <a:lnTo>
                      <a:pt x="264" y="40"/>
                    </a:lnTo>
                    <a:lnTo>
                      <a:pt x="222" y="56"/>
                    </a:lnTo>
                    <a:lnTo>
                      <a:pt x="178" y="68"/>
                    </a:lnTo>
                    <a:lnTo>
                      <a:pt x="134" y="78"/>
                    </a:lnTo>
                    <a:lnTo>
                      <a:pt x="90" y="86"/>
                    </a:lnTo>
                    <a:lnTo>
                      <a:pt x="46" y="90"/>
                    </a:lnTo>
                    <a:lnTo>
                      <a:pt x="0" y="92"/>
                    </a:lnTo>
                    <a:lnTo>
                      <a:pt x="0" y="310"/>
                    </a:lnTo>
                    <a:close/>
                  </a:path>
                </a:pathLst>
              </a:custGeom>
              <a:ln/>
              <a:extLst/>
            </p:spPr>
            <p:style>
              <a:lnRef idx="2">
                <a:schemeClr val="accent2"/>
              </a:lnRef>
              <a:fillRef idx="1">
                <a:schemeClr val="lt1"/>
              </a:fillRef>
              <a:effectRef idx="0">
                <a:schemeClr val="accent2"/>
              </a:effectRef>
              <a:fontRef idx="minor">
                <a:schemeClr val="dk1"/>
              </a:fontRef>
            </p:style>
            <p:txBody>
              <a:bodyPr anchor="ctr"/>
              <a:lstStyle/>
              <a:p>
                <a:pPr>
                  <a:defRPr/>
                </a:pPr>
                <a:endParaRPr lang="en-US" sz="1015" dirty="0"/>
              </a:p>
            </p:txBody>
          </p:sp>
          <p:sp>
            <p:nvSpPr>
              <p:cNvPr id="66" name="Freeform 106"/>
              <p:cNvSpPr>
                <a:spLocks/>
              </p:cNvSpPr>
              <p:nvPr/>
            </p:nvSpPr>
            <p:spPr bwMode="auto">
              <a:xfrm>
                <a:off x="3865744" y="4403649"/>
                <a:ext cx="720855" cy="494405"/>
              </a:xfrm>
              <a:custGeom>
                <a:avLst/>
                <a:gdLst>
                  <a:gd name="T0" fmla="*/ 0 w 454"/>
                  <a:gd name="T1" fmla="*/ 2147483647 h 310"/>
                  <a:gd name="T2" fmla="*/ 0 w 454"/>
                  <a:gd name="T3" fmla="*/ 2147483647 h 310"/>
                  <a:gd name="T4" fmla="*/ 2147483647 w 454"/>
                  <a:gd name="T5" fmla="*/ 2147483647 h 310"/>
                  <a:gd name="T6" fmla="*/ 2147483647 w 454"/>
                  <a:gd name="T7" fmla="*/ 2147483647 h 310"/>
                  <a:gd name="T8" fmla="*/ 2147483647 w 454"/>
                  <a:gd name="T9" fmla="*/ 2147483647 h 310"/>
                  <a:gd name="T10" fmla="*/ 2147483647 w 454"/>
                  <a:gd name="T11" fmla="*/ 2147483647 h 310"/>
                  <a:gd name="T12" fmla="*/ 2147483647 w 454"/>
                  <a:gd name="T13" fmla="*/ 2147483647 h 310"/>
                  <a:gd name="T14" fmla="*/ 2147483647 w 454"/>
                  <a:gd name="T15" fmla="*/ 2147483647 h 310"/>
                  <a:gd name="T16" fmla="*/ 2147483647 w 454"/>
                  <a:gd name="T17" fmla="*/ 2147483647 h 310"/>
                  <a:gd name="T18" fmla="*/ 2147483647 w 454"/>
                  <a:gd name="T19" fmla="*/ 2147483647 h 310"/>
                  <a:gd name="T20" fmla="*/ 2147483647 w 454"/>
                  <a:gd name="T21" fmla="*/ 2147483647 h 310"/>
                  <a:gd name="T22" fmla="*/ 2147483647 w 454"/>
                  <a:gd name="T23" fmla="*/ 2147483647 h 310"/>
                  <a:gd name="T24" fmla="*/ 2147483647 w 454"/>
                  <a:gd name="T25" fmla="*/ 2147483647 h 310"/>
                  <a:gd name="T26" fmla="*/ 2147483647 w 454"/>
                  <a:gd name="T27" fmla="*/ 2147483647 h 310"/>
                  <a:gd name="T28" fmla="*/ 2147483647 w 454"/>
                  <a:gd name="T29" fmla="*/ 2147483647 h 310"/>
                  <a:gd name="T30" fmla="*/ 2147483647 w 454"/>
                  <a:gd name="T31" fmla="*/ 2147483647 h 310"/>
                  <a:gd name="T32" fmla="*/ 2147483647 w 454"/>
                  <a:gd name="T33" fmla="*/ 2147483647 h 310"/>
                  <a:gd name="T34" fmla="*/ 2147483647 w 454"/>
                  <a:gd name="T35" fmla="*/ 2147483647 h 310"/>
                  <a:gd name="T36" fmla="*/ 2147483647 w 454"/>
                  <a:gd name="T37" fmla="*/ 2147483647 h 310"/>
                  <a:gd name="T38" fmla="*/ 2147483647 w 454"/>
                  <a:gd name="T39" fmla="*/ 0 h 310"/>
                  <a:gd name="T40" fmla="*/ 0 w 454"/>
                  <a:gd name="T41" fmla="*/ 2147483647 h 3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4"/>
                  <a:gd name="T64" fmla="*/ 0 h 310"/>
                  <a:gd name="T65" fmla="*/ 454 w 454"/>
                  <a:gd name="T66" fmla="*/ 310 h 31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4" h="310">
                    <a:moveTo>
                      <a:pt x="0" y="188"/>
                    </a:moveTo>
                    <a:lnTo>
                      <a:pt x="0" y="188"/>
                    </a:lnTo>
                    <a:lnTo>
                      <a:pt x="52" y="216"/>
                    </a:lnTo>
                    <a:lnTo>
                      <a:pt x="106" y="242"/>
                    </a:lnTo>
                    <a:lnTo>
                      <a:pt x="162" y="262"/>
                    </a:lnTo>
                    <a:lnTo>
                      <a:pt x="220" y="280"/>
                    </a:lnTo>
                    <a:lnTo>
                      <a:pt x="278" y="292"/>
                    </a:lnTo>
                    <a:lnTo>
                      <a:pt x="336" y="302"/>
                    </a:lnTo>
                    <a:lnTo>
                      <a:pt x="394" y="308"/>
                    </a:lnTo>
                    <a:lnTo>
                      <a:pt x="454" y="310"/>
                    </a:lnTo>
                    <a:lnTo>
                      <a:pt x="454" y="92"/>
                    </a:lnTo>
                    <a:lnTo>
                      <a:pt x="410" y="90"/>
                    </a:lnTo>
                    <a:lnTo>
                      <a:pt x="364" y="86"/>
                    </a:lnTo>
                    <a:lnTo>
                      <a:pt x="320" y="78"/>
                    </a:lnTo>
                    <a:lnTo>
                      <a:pt x="276" y="68"/>
                    </a:lnTo>
                    <a:lnTo>
                      <a:pt x="232" y="56"/>
                    </a:lnTo>
                    <a:lnTo>
                      <a:pt x="190" y="40"/>
                    </a:lnTo>
                    <a:lnTo>
                      <a:pt x="150" y="20"/>
                    </a:lnTo>
                    <a:lnTo>
                      <a:pt x="110" y="0"/>
                    </a:lnTo>
                    <a:lnTo>
                      <a:pt x="0" y="188"/>
                    </a:lnTo>
                    <a:close/>
                  </a:path>
                </a:pathLst>
              </a:custGeom>
              <a:ln/>
              <a:extLst/>
            </p:spPr>
            <p:style>
              <a:lnRef idx="2">
                <a:schemeClr val="accent2">
                  <a:shade val="50000"/>
                </a:schemeClr>
              </a:lnRef>
              <a:fillRef idx="1">
                <a:schemeClr val="accent2"/>
              </a:fillRef>
              <a:effectRef idx="0">
                <a:schemeClr val="accent2"/>
              </a:effectRef>
              <a:fontRef idx="minor">
                <a:schemeClr val="lt1"/>
              </a:fontRef>
            </p:style>
            <p:txBody>
              <a:bodyPr anchor="ctr"/>
              <a:lstStyle/>
              <a:p>
                <a:pPr>
                  <a:defRPr/>
                </a:pPr>
                <a:endParaRPr lang="en-US" sz="1015" dirty="0"/>
              </a:p>
            </p:txBody>
          </p:sp>
          <p:sp>
            <p:nvSpPr>
              <p:cNvPr id="67" name="Freeform 107"/>
              <p:cNvSpPr>
                <a:spLocks/>
              </p:cNvSpPr>
              <p:nvPr/>
            </p:nvSpPr>
            <p:spPr bwMode="auto">
              <a:xfrm>
                <a:off x="3310085" y="3991109"/>
                <a:ext cx="701333" cy="699873"/>
              </a:xfrm>
              <a:custGeom>
                <a:avLst/>
                <a:gdLst>
                  <a:gd name="T0" fmla="*/ 0 w 442"/>
                  <a:gd name="T1" fmla="*/ 2147483647 h 442"/>
                  <a:gd name="T2" fmla="*/ 0 w 442"/>
                  <a:gd name="T3" fmla="*/ 2147483647 h 442"/>
                  <a:gd name="T4" fmla="*/ 2147483647 w 442"/>
                  <a:gd name="T5" fmla="*/ 2147483647 h 442"/>
                  <a:gd name="T6" fmla="*/ 2147483647 w 442"/>
                  <a:gd name="T7" fmla="*/ 2147483647 h 442"/>
                  <a:gd name="T8" fmla="*/ 2147483647 w 442"/>
                  <a:gd name="T9" fmla="*/ 2147483647 h 442"/>
                  <a:gd name="T10" fmla="*/ 2147483647 w 442"/>
                  <a:gd name="T11" fmla="*/ 2147483647 h 442"/>
                  <a:gd name="T12" fmla="*/ 2147483647 w 442"/>
                  <a:gd name="T13" fmla="*/ 2147483647 h 442"/>
                  <a:gd name="T14" fmla="*/ 2147483647 w 442"/>
                  <a:gd name="T15" fmla="*/ 2147483647 h 442"/>
                  <a:gd name="T16" fmla="*/ 2147483647 w 442"/>
                  <a:gd name="T17" fmla="*/ 2147483647 h 442"/>
                  <a:gd name="T18" fmla="*/ 2147483647 w 442"/>
                  <a:gd name="T19" fmla="*/ 2147483647 h 442"/>
                  <a:gd name="T20" fmla="*/ 2147483647 w 442"/>
                  <a:gd name="T21" fmla="*/ 2147483647 h 442"/>
                  <a:gd name="T22" fmla="*/ 2147483647 w 442"/>
                  <a:gd name="T23" fmla="*/ 2147483647 h 442"/>
                  <a:gd name="T24" fmla="*/ 2147483647 w 442"/>
                  <a:gd name="T25" fmla="*/ 2147483647 h 442"/>
                  <a:gd name="T26" fmla="*/ 2147483647 w 442"/>
                  <a:gd name="T27" fmla="*/ 2147483647 h 442"/>
                  <a:gd name="T28" fmla="*/ 2147483647 w 442"/>
                  <a:gd name="T29" fmla="*/ 2147483647 h 442"/>
                  <a:gd name="T30" fmla="*/ 2147483647 w 442"/>
                  <a:gd name="T31" fmla="*/ 2147483647 h 442"/>
                  <a:gd name="T32" fmla="*/ 2147483647 w 442"/>
                  <a:gd name="T33" fmla="*/ 2147483647 h 442"/>
                  <a:gd name="T34" fmla="*/ 2147483647 w 442"/>
                  <a:gd name="T35" fmla="*/ 2147483647 h 442"/>
                  <a:gd name="T36" fmla="*/ 2147483647 w 442"/>
                  <a:gd name="T37" fmla="*/ 2147483647 h 442"/>
                  <a:gd name="T38" fmla="*/ 2147483647 w 442"/>
                  <a:gd name="T39" fmla="*/ 0 h 442"/>
                  <a:gd name="T40" fmla="*/ 0 w 442"/>
                  <a:gd name="T41" fmla="*/ 2147483647 h 4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42"/>
                  <a:gd name="T64" fmla="*/ 0 h 442"/>
                  <a:gd name="T65" fmla="*/ 442 w 442"/>
                  <a:gd name="T66" fmla="*/ 442 h 44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42" h="442">
                    <a:moveTo>
                      <a:pt x="0" y="108"/>
                    </a:moveTo>
                    <a:lnTo>
                      <a:pt x="0" y="108"/>
                    </a:lnTo>
                    <a:lnTo>
                      <a:pt x="32" y="160"/>
                    </a:lnTo>
                    <a:lnTo>
                      <a:pt x="66" y="208"/>
                    </a:lnTo>
                    <a:lnTo>
                      <a:pt x="104" y="254"/>
                    </a:lnTo>
                    <a:lnTo>
                      <a:pt x="144" y="298"/>
                    </a:lnTo>
                    <a:lnTo>
                      <a:pt x="188" y="338"/>
                    </a:lnTo>
                    <a:lnTo>
                      <a:pt x="234" y="376"/>
                    </a:lnTo>
                    <a:lnTo>
                      <a:pt x="282" y="410"/>
                    </a:lnTo>
                    <a:lnTo>
                      <a:pt x="332" y="442"/>
                    </a:lnTo>
                    <a:lnTo>
                      <a:pt x="442" y="252"/>
                    </a:lnTo>
                    <a:lnTo>
                      <a:pt x="404" y="228"/>
                    </a:lnTo>
                    <a:lnTo>
                      <a:pt x="366" y="202"/>
                    </a:lnTo>
                    <a:lnTo>
                      <a:pt x="332" y="174"/>
                    </a:lnTo>
                    <a:lnTo>
                      <a:pt x="298" y="144"/>
                    </a:lnTo>
                    <a:lnTo>
                      <a:pt x="268" y="110"/>
                    </a:lnTo>
                    <a:lnTo>
                      <a:pt x="240" y="76"/>
                    </a:lnTo>
                    <a:lnTo>
                      <a:pt x="212" y="38"/>
                    </a:lnTo>
                    <a:lnTo>
                      <a:pt x="190" y="0"/>
                    </a:lnTo>
                    <a:lnTo>
                      <a:pt x="0" y="108"/>
                    </a:lnTo>
                    <a:close/>
                  </a:path>
                </a:pathLst>
              </a:custGeom>
              <a:ln/>
              <a:extLst/>
            </p:spPr>
            <p:style>
              <a:lnRef idx="2">
                <a:schemeClr val="accent2">
                  <a:shade val="50000"/>
                </a:schemeClr>
              </a:lnRef>
              <a:fillRef idx="1">
                <a:schemeClr val="accent2"/>
              </a:fillRef>
              <a:effectRef idx="0">
                <a:schemeClr val="accent2"/>
              </a:effectRef>
              <a:fontRef idx="minor">
                <a:schemeClr val="lt1"/>
              </a:fontRef>
            </p:style>
            <p:txBody>
              <a:bodyPr anchor="ctr"/>
              <a:lstStyle/>
              <a:p>
                <a:pPr>
                  <a:defRPr/>
                </a:pPr>
                <a:endParaRPr lang="en-US" sz="1015" dirty="0"/>
              </a:p>
            </p:txBody>
          </p:sp>
          <p:sp>
            <p:nvSpPr>
              <p:cNvPr id="68" name="Freeform 108"/>
              <p:cNvSpPr>
                <a:spLocks/>
              </p:cNvSpPr>
              <p:nvPr/>
            </p:nvSpPr>
            <p:spPr bwMode="auto">
              <a:xfrm>
                <a:off x="3104341" y="3414838"/>
                <a:ext cx="491082" cy="720740"/>
              </a:xfrm>
              <a:custGeom>
                <a:avLst/>
                <a:gdLst>
                  <a:gd name="T0" fmla="*/ 0 w 310"/>
                  <a:gd name="T1" fmla="*/ 0 h 454"/>
                  <a:gd name="T2" fmla="*/ 0 w 310"/>
                  <a:gd name="T3" fmla="*/ 0 h 454"/>
                  <a:gd name="T4" fmla="*/ 2147483647 w 310"/>
                  <a:gd name="T5" fmla="*/ 2147483647 h 454"/>
                  <a:gd name="T6" fmla="*/ 2147483647 w 310"/>
                  <a:gd name="T7" fmla="*/ 2147483647 h 454"/>
                  <a:gd name="T8" fmla="*/ 2147483647 w 310"/>
                  <a:gd name="T9" fmla="*/ 2147483647 h 454"/>
                  <a:gd name="T10" fmla="*/ 2147483647 w 310"/>
                  <a:gd name="T11" fmla="*/ 2147483647 h 454"/>
                  <a:gd name="T12" fmla="*/ 2147483647 w 310"/>
                  <a:gd name="T13" fmla="*/ 2147483647 h 454"/>
                  <a:gd name="T14" fmla="*/ 2147483647 w 310"/>
                  <a:gd name="T15" fmla="*/ 2147483647 h 454"/>
                  <a:gd name="T16" fmla="*/ 2147483647 w 310"/>
                  <a:gd name="T17" fmla="*/ 2147483647 h 454"/>
                  <a:gd name="T18" fmla="*/ 2147483647 w 310"/>
                  <a:gd name="T19" fmla="*/ 2147483647 h 454"/>
                  <a:gd name="T20" fmla="*/ 2147483647 w 310"/>
                  <a:gd name="T21" fmla="*/ 2147483647 h 454"/>
                  <a:gd name="T22" fmla="*/ 2147483647 w 310"/>
                  <a:gd name="T23" fmla="*/ 2147483647 h 454"/>
                  <a:gd name="T24" fmla="*/ 2147483647 w 310"/>
                  <a:gd name="T25" fmla="*/ 2147483647 h 454"/>
                  <a:gd name="T26" fmla="*/ 2147483647 w 310"/>
                  <a:gd name="T27" fmla="*/ 2147483647 h 454"/>
                  <a:gd name="T28" fmla="*/ 2147483647 w 310"/>
                  <a:gd name="T29" fmla="*/ 2147483647 h 454"/>
                  <a:gd name="T30" fmla="*/ 2147483647 w 310"/>
                  <a:gd name="T31" fmla="*/ 2147483647 h 454"/>
                  <a:gd name="T32" fmla="*/ 2147483647 w 310"/>
                  <a:gd name="T33" fmla="*/ 2147483647 h 454"/>
                  <a:gd name="T34" fmla="*/ 2147483647 w 310"/>
                  <a:gd name="T35" fmla="*/ 2147483647 h 454"/>
                  <a:gd name="T36" fmla="*/ 2147483647 w 310"/>
                  <a:gd name="T37" fmla="*/ 2147483647 h 454"/>
                  <a:gd name="T38" fmla="*/ 2147483647 w 310"/>
                  <a:gd name="T39" fmla="*/ 0 h 454"/>
                  <a:gd name="T40" fmla="*/ 0 w 310"/>
                  <a:gd name="T41" fmla="*/ 0 h 4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0"/>
                  <a:gd name="T64" fmla="*/ 0 h 454"/>
                  <a:gd name="T65" fmla="*/ 310 w 310"/>
                  <a:gd name="T66" fmla="*/ 454 h 4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0" h="454">
                    <a:moveTo>
                      <a:pt x="0" y="0"/>
                    </a:moveTo>
                    <a:lnTo>
                      <a:pt x="0" y="0"/>
                    </a:lnTo>
                    <a:lnTo>
                      <a:pt x="2" y="58"/>
                    </a:lnTo>
                    <a:lnTo>
                      <a:pt x="8" y="118"/>
                    </a:lnTo>
                    <a:lnTo>
                      <a:pt x="16" y="176"/>
                    </a:lnTo>
                    <a:lnTo>
                      <a:pt x="30" y="234"/>
                    </a:lnTo>
                    <a:lnTo>
                      <a:pt x="48" y="292"/>
                    </a:lnTo>
                    <a:lnTo>
                      <a:pt x="68" y="346"/>
                    </a:lnTo>
                    <a:lnTo>
                      <a:pt x="94" y="402"/>
                    </a:lnTo>
                    <a:lnTo>
                      <a:pt x="122" y="454"/>
                    </a:lnTo>
                    <a:lnTo>
                      <a:pt x="310" y="344"/>
                    </a:lnTo>
                    <a:lnTo>
                      <a:pt x="290" y="304"/>
                    </a:lnTo>
                    <a:lnTo>
                      <a:pt x="270" y="264"/>
                    </a:lnTo>
                    <a:lnTo>
                      <a:pt x="254" y="222"/>
                    </a:lnTo>
                    <a:lnTo>
                      <a:pt x="242" y="178"/>
                    </a:lnTo>
                    <a:lnTo>
                      <a:pt x="232" y="134"/>
                    </a:lnTo>
                    <a:lnTo>
                      <a:pt x="224" y="90"/>
                    </a:lnTo>
                    <a:lnTo>
                      <a:pt x="220" y="44"/>
                    </a:lnTo>
                    <a:lnTo>
                      <a:pt x="218" y="0"/>
                    </a:lnTo>
                    <a:lnTo>
                      <a:pt x="0" y="0"/>
                    </a:lnTo>
                    <a:close/>
                  </a:path>
                </a:pathLst>
              </a:custGeom>
              <a:ln/>
              <a:extLst/>
            </p:spPr>
            <p:style>
              <a:lnRef idx="2">
                <a:schemeClr val="accent2">
                  <a:shade val="50000"/>
                </a:schemeClr>
              </a:lnRef>
              <a:fillRef idx="1">
                <a:schemeClr val="accent2"/>
              </a:fillRef>
              <a:effectRef idx="0">
                <a:schemeClr val="accent2"/>
              </a:effectRef>
              <a:fontRef idx="minor">
                <a:schemeClr val="lt1"/>
              </a:fontRef>
            </p:style>
            <p:txBody>
              <a:bodyPr anchor="ctr"/>
              <a:lstStyle/>
              <a:p>
                <a:pPr>
                  <a:defRPr/>
                </a:pPr>
                <a:endParaRPr lang="en-US" sz="1015" dirty="0"/>
              </a:p>
            </p:txBody>
          </p:sp>
          <p:sp>
            <p:nvSpPr>
              <p:cNvPr id="69" name="Freeform 109"/>
              <p:cNvSpPr>
                <a:spLocks/>
              </p:cNvSpPr>
              <p:nvPr/>
            </p:nvSpPr>
            <p:spPr bwMode="auto">
              <a:xfrm>
                <a:off x="3104341" y="2665204"/>
                <a:ext cx="491082" cy="720741"/>
              </a:xfrm>
              <a:custGeom>
                <a:avLst/>
                <a:gdLst>
                  <a:gd name="T0" fmla="*/ 2147483647 w 310"/>
                  <a:gd name="T1" fmla="*/ 0 h 454"/>
                  <a:gd name="T2" fmla="*/ 2147483647 w 310"/>
                  <a:gd name="T3" fmla="*/ 0 h 454"/>
                  <a:gd name="T4" fmla="*/ 2147483647 w 310"/>
                  <a:gd name="T5" fmla="*/ 2147483647 h 454"/>
                  <a:gd name="T6" fmla="*/ 2147483647 w 310"/>
                  <a:gd name="T7" fmla="*/ 2147483647 h 454"/>
                  <a:gd name="T8" fmla="*/ 2147483647 w 310"/>
                  <a:gd name="T9" fmla="*/ 2147483647 h 454"/>
                  <a:gd name="T10" fmla="*/ 2147483647 w 310"/>
                  <a:gd name="T11" fmla="*/ 2147483647 h 454"/>
                  <a:gd name="T12" fmla="*/ 2147483647 w 310"/>
                  <a:gd name="T13" fmla="*/ 2147483647 h 454"/>
                  <a:gd name="T14" fmla="*/ 2147483647 w 310"/>
                  <a:gd name="T15" fmla="*/ 2147483647 h 454"/>
                  <a:gd name="T16" fmla="*/ 2147483647 w 310"/>
                  <a:gd name="T17" fmla="*/ 2147483647 h 454"/>
                  <a:gd name="T18" fmla="*/ 0 w 310"/>
                  <a:gd name="T19" fmla="*/ 2147483647 h 454"/>
                  <a:gd name="T20" fmla="*/ 2147483647 w 310"/>
                  <a:gd name="T21" fmla="*/ 2147483647 h 454"/>
                  <a:gd name="T22" fmla="*/ 2147483647 w 310"/>
                  <a:gd name="T23" fmla="*/ 2147483647 h 454"/>
                  <a:gd name="T24" fmla="*/ 2147483647 w 310"/>
                  <a:gd name="T25" fmla="*/ 2147483647 h 454"/>
                  <a:gd name="T26" fmla="*/ 2147483647 w 310"/>
                  <a:gd name="T27" fmla="*/ 2147483647 h 454"/>
                  <a:gd name="T28" fmla="*/ 2147483647 w 310"/>
                  <a:gd name="T29" fmla="*/ 2147483647 h 454"/>
                  <a:gd name="T30" fmla="*/ 2147483647 w 310"/>
                  <a:gd name="T31" fmla="*/ 2147483647 h 454"/>
                  <a:gd name="T32" fmla="*/ 2147483647 w 310"/>
                  <a:gd name="T33" fmla="*/ 2147483647 h 454"/>
                  <a:gd name="T34" fmla="*/ 2147483647 w 310"/>
                  <a:gd name="T35" fmla="*/ 2147483647 h 454"/>
                  <a:gd name="T36" fmla="*/ 2147483647 w 310"/>
                  <a:gd name="T37" fmla="*/ 2147483647 h 454"/>
                  <a:gd name="T38" fmla="*/ 2147483647 w 310"/>
                  <a:gd name="T39" fmla="*/ 2147483647 h 454"/>
                  <a:gd name="T40" fmla="*/ 2147483647 w 310"/>
                  <a:gd name="T41" fmla="*/ 0 h 4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0"/>
                  <a:gd name="T64" fmla="*/ 0 h 454"/>
                  <a:gd name="T65" fmla="*/ 310 w 310"/>
                  <a:gd name="T66" fmla="*/ 454 h 4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0" h="454">
                    <a:moveTo>
                      <a:pt x="122" y="0"/>
                    </a:moveTo>
                    <a:lnTo>
                      <a:pt x="122" y="0"/>
                    </a:lnTo>
                    <a:lnTo>
                      <a:pt x="94" y="52"/>
                    </a:lnTo>
                    <a:lnTo>
                      <a:pt x="68" y="106"/>
                    </a:lnTo>
                    <a:lnTo>
                      <a:pt x="48" y="162"/>
                    </a:lnTo>
                    <a:lnTo>
                      <a:pt x="30" y="218"/>
                    </a:lnTo>
                    <a:lnTo>
                      <a:pt x="16" y="276"/>
                    </a:lnTo>
                    <a:lnTo>
                      <a:pt x="8" y="334"/>
                    </a:lnTo>
                    <a:lnTo>
                      <a:pt x="2" y="394"/>
                    </a:lnTo>
                    <a:lnTo>
                      <a:pt x="0" y="454"/>
                    </a:lnTo>
                    <a:lnTo>
                      <a:pt x="218" y="454"/>
                    </a:lnTo>
                    <a:lnTo>
                      <a:pt x="220" y="408"/>
                    </a:lnTo>
                    <a:lnTo>
                      <a:pt x="224" y="364"/>
                    </a:lnTo>
                    <a:lnTo>
                      <a:pt x="232" y="318"/>
                    </a:lnTo>
                    <a:lnTo>
                      <a:pt x="242" y="276"/>
                    </a:lnTo>
                    <a:lnTo>
                      <a:pt x="254" y="232"/>
                    </a:lnTo>
                    <a:lnTo>
                      <a:pt x="270" y="190"/>
                    </a:lnTo>
                    <a:lnTo>
                      <a:pt x="290" y="148"/>
                    </a:lnTo>
                    <a:lnTo>
                      <a:pt x="310" y="108"/>
                    </a:lnTo>
                    <a:lnTo>
                      <a:pt x="122" y="0"/>
                    </a:lnTo>
                    <a:close/>
                  </a:path>
                </a:pathLst>
              </a:custGeom>
              <a:ln/>
              <a:extLst/>
            </p:spPr>
            <p:style>
              <a:lnRef idx="2">
                <a:schemeClr val="accent2">
                  <a:shade val="50000"/>
                </a:schemeClr>
              </a:lnRef>
              <a:fillRef idx="1">
                <a:schemeClr val="accent2"/>
              </a:fillRef>
              <a:effectRef idx="0">
                <a:schemeClr val="accent2"/>
              </a:effectRef>
              <a:fontRef idx="minor">
                <a:schemeClr val="lt1"/>
              </a:fontRef>
            </p:style>
            <p:txBody>
              <a:bodyPr anchor="ctr"/>
              <a:lstStyle/>
              <a:p>
                <a:pPr>
                  <a:defRPr/>
                </a:pPr>
                <a:endParaRPr lang="en-US" sz="1015" dirty="0"/>
              </a:p>
            </p:txBody>
          </p:sp>
          <p:sp>
            <p:nvSpPr>
              <p:cNvPr id="70" name="Freeform 110"/>
              <p:cNvSpPr>
                <a:spLocks/>
              </p:cNvSpPr>
              <p:nvPr/>
            </p:nvSpPr>
            <p:spPr bwMode="auto">
              <a:xfrm>
                <a:off x="3310085" y="2109800"/>
                <a:ext cx="701333" cy="701478"/>
              </a:xfrm>
              <a:custGeom>
                <a:avLst/>
                <a:gdLst>
                  <a:gd name="T0" fmla="*/ 2147483647 w 442"/>
                  <a:gd name="T1" fmla="*/ 0 h 442"/>
                  <a:gd name="T2" fmla="*/ 2147483647 w 442"/>
                  <a:gd name="T3" fmla="*/ 0 h 442"/>
                  <a:gd name="T4" fmla="*/ 2147483647 w 442"/>
                  <a:gd name="T5" fmla="*/ 2147483647 h 442"/>
                  <a:gd name="T6" fmla="*/ 2147483647 w 442"/>
                  <a:gd name="T7" fmla="*/ 2147483647 h 442"/>
                  <a:gd name="T8" fmla="*/ 2147483647 w 442"/>
                  <a:gd name="T9" fmla="*/ 2147483647 h 442"/>
                  <a:gd name="T10" fmla="*/ 2147483647 w 442"/>
                  <a:gd name="T11" fmla="*/ 2147483647 h 442"/>
                  <a:gd name="T12" fmla="*/ 2147483647 w 442"/>
                  <a:gd name="T13" fmla="*/ 2147483647 h 442"/>
                  <a:gd name="T14" fmla="*/ 2147483647 w 442"/>
                  <a:gd name="T15" fmla="*/ 2147483647 h 442"/>
                  <a:gd name="T16" fmla="*/ 2147483647 w 442"/>
                  <a:gd name="T17" fmla="*/ 2147483647 h 442"/>
                  <a:gd name="T18" fmla="*/ 0 w 442"/>
                  <a:gd name="T19" fmla="*/ 2147483647 h 442"/>
                  <a:gd name="T20" fmla="*/ 2147483647 w 442"/>
                  <a:gd name="T21" fmla="*/ 2147483647 h 442"/>
                  <a:gd name="T22" fmla="*/ 2147483647 w 442"/>
                  <a:gd name="T23" fmla="*/ 2147483647 h 442"/>
                  <a:gd name="T24" fmla="*/ 2147483647 w 442"/>
                  <a:gd name="T25" fmla="*/ 2147483647 h 442"/>
                  <a:gd name="T26" fmla="*/ 2147483647 w 442"/>
                  <a:gd name="T27" fmla="*/ 2147483647 h 442"/>
                  <a:gd name="T28" fmla="*/ 2147483647 w 442"/>
                  <a:gd name="T29" fmla="*/ 2147483647 h 442"/>
                  <a:gd name="T30" fmla="*/ 2147483647 w 442"/>
                  <a:gd name="T31" fmla="*/ 2147483647 h 442"/>
                  <a:gd name="T32" fmla="*/ 2147483647 w 442"/>
                  <a:gd name="T33" fmla="*/ 2147483647 h 442"/>
                  <a:gd name="T34" fmla="*/ 2147483647 w 442"/>
                  <a:gd name="T35" fmla="*/ 2147483647 h 442"/>
                  <a:gd name="T36" fmla="*/ 2147483647 w 442"/>
                  <a:gd name="T37" fmla="*/ 2147483647 h 442"/>
                  <a:gd name="T38" fmla="*/ 2147483647 w 442"/>
                  <a:gd name="T39" fmla="*/ 2147483647 h 442"/>
                  <a:gd name="T40" fmla="*/ 2147483647 w 442"/>
                  <a:gd name="T41" fmla="*/ 0 h 4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42"/>
                  <a:gd name="T64" fmla="*/ 0 h 442"/>
                  <a:gd name="T65" fmla="*/ 442 w 442"/>
                  <a:gd name="T66" fmla="*/ 442 h 44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42" h="442">
                    <a:moveTo>
                      <a:pt x="332" y="0"/>
                    </a:moveTo>
                    <a:lnTo>
                      <a:pt x="332" y="0"/>
                    </a:lnTo>
                    <a:lnTo>
                      <a:pt x="282" y="30"/>
                    </a:lnTo>
                    <a:lnTo>
                      <a:pt x="234" y="66"/>
                    </a:lnTo>
                    <a:lnTo>
                      <a:pt x="188" y="104"/>
                    </a:lnTo>
                    <a:lnTo>
                      <a:pt x="144" y="144"/>
                    </a:lnTo>
                    <a:lnTo>
                      <a:pt x="104" y="186"/>
                    </a:lnTo>
                    <a:lnTo>
                      <a:pt x="66" y="232"/>
                    </a:lnTo>
                    <a:lnTo>
                      <a:pt x="32" y="282"/>
                    </a:lnTo>
                    <a:lnTo>
                      <a:pt x="0" y="332"/>
                    </a:lnTo>
                    <a:lnTo>
                      <a:pt x="190" y="442"/>
                    </a:lnTo>
                    <a:lnTo>
                      <a:pt x="212" y="402"/>
                    </a:lnTo>
                    <a:lnTo>
                      <a:pt x="240" y="366"/>
                    </a:lnTo>
                    <a:lnTo>
                      <a:pt x="268" y="330"/>
                    </a:lnTo>
                    <a:lnTo>
                      <a:pt x="298" y="298"/>
                    </a:lnTo>
                    <a:lnTo>
                      <a:pt x="332" y="268"/>
                    </a:lnTo>
                    <a:lnTo>
                      <a:pt x="366" y="238"/>
                    </a:lnTo>
                    <a:lnTo>
                      <a:pt x="404" y="212"/>
                    </a:lnTo>
                    <a:lnTo>
                      <a:pt x="442" y="188"/>
                    </a:lnTo>
                    <a:lnTo>
                      <a:pt x="332" y="0"/>
                    </a:lnTo>
                    <a:close/>
                  </a:path>
                </a:pathLst>
              </a:custGeom>
              <a:ln/>
              <a:extLst/>
            </p:spPr>
            <p:style>
              <a:lnRef idx="2">
                <a:schemeClr val="accent2">
                  <a:shade val="50000"/>
                </a:schemeClr>
              </a:lnRef>
              <a:fillRef idx="1">
                <a:schemeClr val="accent2"/>
              </a:fillRef>
              <a:effectRef idx="0">
                <a:schemeClr val="accent2"/>
              </a:effectRef>
              <a:fontRef idx="minor">
                <a:schemeClr val="lt1"/>
              </a:fontRef>
            </p:style>
            <p:txBody>
              <a:bodyPr anchor="ctr"/>
              <a:lstStyle/>
              <a:p>
                <a:pPr>
                  <a:defRPr/>
                </a:pPr>
                <a:endParaRPr lang="en-US" sz="1015" dirty="0"/>
              </a:p>
            </p:txBody>
          </p:sp>
          <p:sp>
            <p:nvSpPr>
              <p:cNvPr id="72" name="Freeform 111"/>
              <p:cNvSpPr>
                <a:spLocks/>
              </p:cNvSpPr>
              <p:nvPr/>
            </p:nvSpPr>
            <p:spPr bwMode="auto">
              <a:xfrm>
                <a:off x="3865744" y="1899518"/>
                <a:ext cx="720855" cy="496010"/>
              </a:xfrm>
              <a:custGeom>
                <a:avLst/>
                <a:gdLst>
                  <a:gd name="T0" fmla="*/ 2147483647 w 454"/>
                  <a:gd name="T1" fmla="*/ 0 h 312"/>
                  <a:gd name="T2" fmla="*/ 2147483647 w 454"/>
                  <a:gd name="T3" fmla="*/ 0 h 312"/>
                  <a:gd name="T4" fmla="*/ 2147483647 w 454"/>
                  <a:gd name="T5" fmla="*/ 2147483647 h 312"/>
                  <a:gd name="T6" fmla="*/ 2147483647 w 454"/>
                  <a:gd name="T7" fmla="*/ 2147483647 h 312"/>
                  <a:gd name="T8" fmla="*/ 2147483647 w 454"/>
                  <a:gd name="T9" fmla="*/ 2147483647 h 312"/>
                  <a:gd name="T10" fmla="*/ 2147483647 w 454"/>
                  <a:gd name="T11" fmla="*/ 2147483647 h 312"/>
                  <a:gd name="T12" fmla="*/ 2147483647 w 454"/>
                  <a:gd name="T13" fmla="*/ 2147483647 h 312"/>
                  <a:gd name="T14" fmla="*/ 2147483647 w 454"/>
                  <a:gd name="T15" fmla="*/ 2147483647 h 312"/>
                  <a:gd name="T16" fmla="*/ 2147483647 w 454"/>
                  <a:gd name="T17" fmla="*/ 2147483647 h 312"/>
                  <a:gd name="T18" fmla="*/ 0 w 454"/>
                  <a:gd name="T19" fmla="*/ 2147483647 h 312"/>
                  <a:gd name="T20" fmla="*/ 2147483647 w 454"/>
                  <a:gd name="T21" fmla="*/ 2147483647 h 312"/>
                  <a:gd name="T22" fmla="*/ 2147483647 w 454"/>
                  <a:gd name="T23" fmla="*/ 2147483647 h 312"/>
                  <a:gd name="T24" fmla="*/ 2147483647 w 454"/>
                  <a:gd name="T25" fmla="*/ 2147483647 h 312"/>
                  <a:gd name="T26" fmla="*/ 2147483647 w 454"/>
                  <a:gd name="T27" fmla="*/ 2147483647 h 312"/>
                  <a:gd name="T28" fmla="*/ 2147483647 w 454"/>
                  <a:gd name="T29" fmla="*/ 2147483647 h 312"/>
                  <a:gd name="T30" fmla="*/ 2147483647 w 454"/>
                  <a:gd name="T31" fmla="*/ 2147483647 h 312"/>
                  <a:gd name="T32" fmla="*/ 2147483647 w 454"/>
                  <a:gd name="T33" fmla="*/ 2147483647 h 312"/>
                  <a:gd name="T34" fmla="*/ 2147483647 w 454"/>
                  <a:gd name="T35" fmla="*/ 2147483647 h 312"/>
                  <a:gd name="T36" fmla="*/ 2147483647 w 454"/>
                  <a:gd name="T37" fmla="*/ 2147483647 h 312"/>
                  <a:gd name="T38" fmla="*/ 2147483647 w 454"/>
                  <a:gd name="T39" fmla="*/ 2147483647 h 312"/>
                  <a:gd name="T40" fmla="*/ 2147483647 w 454"/>
                  <a:gd name="T41" fmla="*/ 0 h 3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4"/>
                  <a:gd name="T64" fmla="*/ 0 h 312"/>
                  <a:gd name="T65" fmla="*/ 454 w 454"/>
                  <a:gd name="T66" fmla="*/ 312 h 3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4" h="312">
                    <a:moveTo>
                      <a:pt x="454" y="0"/>
                    </a:moveTo>
                    <a:lnTo>
                      <a:pt x="454" y="0"/>
                    </a:lnTo>
                    <a:lnTo>
                      <a:pt x="394" y="2"/>
                    </a:lnTo>
                    <a:lnTo>
                      <a:pt x="336" y="8"/>
                    </a:lnTo>
                    <a:lnTo>
                      <a:pt x="278" y="18"/>
                    </a:lnTo>
                    <a:lnTo>
                      <a:pt x="220" y="32"/>
                    </a:lnTo>
                    <a:lnTo>
                      <a:pt x="162" y="48"/>
                    </a:lnTo>
                    <a:lnTo>
                      <a:pt x="106" y="70"/>
                    </a:lnTo>
                    <a:lnTo>
                      <a:pt x="52" y="94"/>
                    </a:lnTo>
                    <a:lnTo>
                      <a:pt x="0" y="122"/>
                    </a:lnTo>
                    <a:lnTo>
                      <a:pt x="110" y="312"/>
                    </a:lnTo>
                    <a:lnTo>
                      <a:pt x="150" y="290"/>
                    </a:lnTo>
                    <a:lnTo>
                      <a:pt x="190" y="272"/>
                    </a:lnTo>
                    <a:lnTo>
                      <a:pt x="232" y="256"/>
                    </a:lnTo>
                    <a:lnTo>
                      <a:pt x="276" y="242"/>
                    </a:lnTo>
                    <a:lnTo>
                      <a:pt x="320" y="232"/>
                    </a:lnTo>
                    <a:lnTo>
                      <a:pt x="364" y="224"/>
                    </a:lnTo>
                    <a:lnTo>
                      <a:pt x="410" y="220"/>
                    </a:lnTo>
                    <a:lnTo>
                      <a:pt x="454" y="220"/>
                    </a:lnTo>
                    <a:lnTo>
                      <a:pt x="454" y="0"/>
                    </a:lnTo>
                    <a:close/>
                  </a:path>
                </a:pathLst>
              </a:custGeom>
              <a:ln/>
              <a:extLst/>
            </p:spPr>
            <p:style>
              <a:lnRef idx="2">
                <a:schemeClr val="accent2">
                  <a:shade val="50000"/>
                </a:schemeClr>
              </a:lnRef>
              <a:fillRef idx="1">
                <a:schemeClr val="accent2"/>
              </a:fillRef>
              <a:effectRef idx="0">
                <a:schemeClr val="accent2"/>
              </a:effectRef>
              <a:fontRef idx="minor">
                <a:schemeClr val="lt1"/>
              </a:fontRef>
            </p:style>
            <p:txBody>
              <a:bodyPr anchor="ctr"/>
              <a:lstStyle/>
              <a:p>
                <a:pPr>
                  <a:defRPr/>
                </a:pPr>
                <a:endParaRPr lang="en-US" sz="1015" dirty="0"/>
              </a:p>
            </p:txBody>
          </p:sp>
          <p:sp>
            <p:nvSpPr>
              <p:cNvPr id="74" name="Rektangulær billedforklaring 70"/>
              <p:cNvSpPr>
                <a:spLocks noChangeArrowheads="1"/>
              </p:cNvSpPr>
              <p:nvPr/>
            </p:nvSpPr>
            <p:spPr bwMode="auto">
              <a:xfrm>
                <a:off x="6280609" y="3413233"/>
                <a:ext cx="1413177" cy="956707"/>
              </a:xfrm>
              <a:prstGeom prst="wedgeRectCallout">
                <a:avLst>
                  <a:gd name="adj1" fmla="val -72403"/>
                  <a:gd name="adj2" fmla="val -29648"/>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32805" name="Rektangel 71"/>
              <p:cNvSpPr>
                <a:spLocks noChangeArrowheads="1"/>
              </p:cNvSpPr>
              <p:nvPr/>
            </p:nvSpPr>
            <p:spPr bwMode="auto">
              <a:xfrm>
                <a:off x="6253557" y="3404959"/>
                <a:ext cx="1440229" cy="841669"/>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Luglio ‘13</a:t>
                </a:r>
              </a:p>
              <a:p>
                <a:pPr algn="ctr" defTabSz="740038">
                  <a:spcBef>
                    <a:spcPct val="20000"/>
                  </a:spcBef>
                </a:pPr>
                <a:r>
                  <a:rPr lang="it-IT" sz="1292" b="1" noProof="1">
                    <a:solidFill>
                      <a:srgbClr val="FF0000"/>
                    </a:solidFill>
                    <a:latin typeface="Calibri" pitchFamily="34" charset="0"/>
                    <a:cs typeface="Arial" charset="0"/>
                  </a:rPr>
                  <a:t>Invio Progres n. 1.</a:t>
                </a:r>
              </a:p>
              <a:p>
                <a:pPr algn="ctr" defTabSz="740038">
                  <a:spcBef>
                    <a:spcPct val="20000"/>
                  </a:spcBef>
                </a:pPr>
                <a:r>
                  <a:rPr lang="it-IT" sz="1292" b="1" noProof="1">
                    <a:solidFill>
                      <a:srgbClr val="00B0F0"/>
                    </a:solidFill>
                    <a:latin typeface="Calibri" pitchFamily="34" charset="0"/>
                    <a:cs typeface="Arial" charset="0"/>
                  </a:rPr>
                  <a:t>Tavolo </a:t>
                </a:r>
                <a:r>
                  <a:rPr lang="it-IT" sz="1108" b="1" noProof="1">
                    <a:solidFill>
                      <a:srgbClr val="00B0F0"/>
                    </a:solidFill>
                    <a:latin typeface="Calibri" pitchFamily="34" charset="0"/>
                    <a:cs typeface="Arial" charset="0"/>
                  </a:rPr>
                  <a:t>MISE-MIUR</a:t>
                </a:r>
              </a:p>
            </p:txBody>
          </p:sp>
          <p:sp>
            <p:nvSpPr>
              <p:cNvPr id="78" name="Rektangulær billedforklaring 72"/>
              <p:cNvSpPr>
                <a:spLocks noChangeArrowheads="1"/>
              </p:cNvSpPr>
              <p:nvPr/>
            </p:nvSpPr>
            <p:spPr bwMode="auto">
              <a:xfrm>
                <a:off x="5807548" y="4434148"/>
                <a:ext cx="1688003" cy="942260"/>
              </a:xfrm>
              <a:prstGeom prst="wedgeRectCallout">
                <a:avLst>
                  <a:gd name="adj1" fmla="val -66037"/>
                  <a:gd name="adj2" fmla="val -55139"/>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80" name="Rektangulær billedforklaring 74"/>
              <p:cNvSpPr>
                <a:spLocks noChangeArrowheads="1"/>
              </p:cNvSpPr>
              <p:nvPr/>
            </p:nvSpPr>
            <p:spPr bwMode="auto">
              <a:xfrm>
                <a:off x="4511510" y="5105127"/>
                <a:ext cx="1305049" cy="1080308"/>
              </a:xfrm>
              <a:prstGeom prst="wedgeRectCallout">
                <a:avLst>
                  <a:gd name="adj1" fmla="val 2745"/>
                  <a:gd name="adj2" fmla="val -82227"/>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82" name="Rektangulær billedforklaring 76"/>
              <p:cNvSpPr>
                <a:spLocks noChangeArrowheads="1"/>
              </p:cNvSpPr>
              <p:nvPr/>
            </p:nvSpPr>
            <p:spPr bwMode="auto">
              <a:xfrm>
                <a:off x="3245509" y="5105127"/>
                <a:ext cx="1196920" cy="1080308"/>
              </a:xfrm>
              <a:prstGeom prst="wedgeRectCallout">
                <a:avLst>
                  <a:gd name="adj1" fmla="val 32042"/>
                  <a:gd name="adj2" fmla="val -85412"/>
                </a:avLst>
              </a:prstGeom>
              <a:gradFill rotWithShape="1">
                <a:gsLst>
                  <a:gs pos="0">
                    <a:schemeClr val="bg1">
                      <a:lumMod val="85000"/>
                    </a:schemeClr>
                  </a:gs>
                  <a:gs pos="76300">
                    <a:schemeClr val="bg1"/>
                  </a:gs>
                  <a:gs pos="100000">
                    <a:schemeClr val="bg1">
                      <a:lumMod val="95000"/>
                    </a:schemeClr>
                  </a:gs>
                </a:gsLst>
                <a:lin ang="16200000"/>
              </a:gradFill>
              <a:ln w="12700">
                <a:solidFill>
                  <a:schemeClr val="bg1"/>
                </a:solidFill>
                <a:miter lim="800000"/>
                <a:headEnd/>
                <a:tailEnd/>
              </a:ln>
              <a:effectLst>
                <a:outerShdw blurRad="50800" dist="38100" dir="2700000" algn="tl" rotWithShape="0">
                  <a:schemeClr val="bg1">
                    <a:lumMod val="65000"/>
                    <a:alpha val="40000"/>
                  </a:schemeClr>
                </a:outerShdw>
              </a:effectLst>
            </p:spPr>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84" name="Rektangulær billedforklaring 78"/>
              <p:cNvSpPr>
                <a:spLocks noChangeArrowheads="1"/>
              </p:cNvSpPr>
              <p:nvPr/>
            </p:nvSpPr>
            <p:spPr bwMode="auto">
              <a:xfrm>
                <a:off x="1997528" y="4421306"/>
                <a:ext cx="1195418" cy="1088334"/>
              </a:xfrm>
              <a:prstGeom prst="wedgeRectCallout">
                <a:avLst>
                  <a:gd name="adj1" fmla="val 80440"/>
                  <a:gd name="adj2" fmla="val -51954"/>
                </a:avLst>
              </a:prstGeom>
              <a:gradFill rotWithShape="1">
                <a:gsLst>
                  <a:gs pos="0">
                    <a:schemeClr val="bg1">
                      <a:lumMod val="85000"/>
                    </a:schemeClr>
                  </a:gs>
                  <a:gs pos="76300">
                    <a:schemeClr val="bg1"/>
                  </a:gs>
                  <a:gs pos="100000">
                    <a:schemeClr val="bg1">
                      <a:lumMod val="95000"/>
                    </a:schemeClr>
                  </a:gs>
                </a:gsLst>
                <a:lin ang="16200000"/>
              </a:gradFill>
              <a:ln w="12700">
                <a:solidFill>
                  <a:schemeClr val="bg1"/>
                </a:solidFill>
                <a:miter lim="800000"/>
                <a:headEnd/>
                <a:tailEnd/>
              </a:ln>
              <a:effectLst>
                <a:outerShdw blurRad="50800" dist="38100" dir="2700000" algn="tl" rotWithShape="0">
                  <a:schemeClr val="bg1">
                    <a:lumMod val="65000"/>
                    <a:alpha val="40000"/>
                  </a:schemeClr>
                </a:outerShdw>
              </a:effectLst>
            </p:spPr>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86" name="Rektangulær billedforklaring 80"/>
              <p:cNvSpPr>
                <a:spLocks noChangeArrowheads="1"/>
              </p:cNvSpPr>
              <p:nvPr/>
            </p:nvSpPr>
            <p:spPr bwMode="auto">
              <a:xfrm>
                <a:off x="1662631" y="3429285"/>
                <a:ext cx="1196920" cy="956707"/>
              </a:xfrm>
              <a:prstGeom prst="wedgeRectCallout">
                <a:avLst>
                  <a:gd name="adj1" fmla="val 72801"/>
                  <a:gd name="adj2" fmla="val -36023"/>
                </a:avLst>
              </a:prstGeom>
              <a:gradFill rotWithShape="1">
                <a:gsLst>
                  <a:gs pos="0">
                    <a:schemeClr val="bg1">
                      <a:lumMod val="85000"/>
                    </a:schemeClr>
                  </a:gs>
                  <a:gs pos="76300">
                    <a:schemeClr val="bg1"/>
                  </a:gs>
                  <a:gs pos="100000">
                    <a:schemeClr val="bg1">
                      <a:lumMod val="95000"/>
                    </a:schemeClr>
                  </a:gs>
                </a:gsLst>
                <a:lin ang="16200000"/>
              </a:gradFill>
              <a:ln w="12700">
                <a:solidFill>
                  <a:schemeClr val="bg1"/>
                </a:solidFill>
                <a:miter lim="800000"/>
                <a:headEnd/>
                <a:tailEnd/>
              </a:ln>
              <a:effectLst>
                <a:outerShdw blurRad="50800" dist="38100" dir="2700000" algn="tl" rotWithShape="0">
                  <a:schemeClr val="bg1">
                    <a:lumMod val="65000"/>
                    <a:alpha val="40000"/>
                  </a:schemeClr>
                </a:outerShdw>
              </a:effectLst>
            </p:spPr>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88" name="Rektangulær billedforklaring 82"/>
              <p:cNvSpPr>
                <a:spLocks noChangeArrowheads="1"/>
              </p:cNvSpPr>
              <p:nvPr/>
            </p:nvSpPr>
            <p:spPr bwMode="auto">
              <a:xfrm>
                <a:off x="1616075" y="2392317"/>
                <a:ext cx="1196920" cy="958312"/>
              </a:xfrm>
              <a:prstGeom prst="wedgeRectCallout">
                <a:avLst>
                  <a:gd name="adj1" fmla="val 82991"/>
                  <a:gd name="adj2" fmla="val -12125"/>
                </a:avLst>
              </a:prstGeom>
              <a:gradFill rotWithShape="1">
                <a:gsLst>
                  <a:gs pos="0">
                    <a:schemeClr val="bg1">
                      <a:lumMod val="85000"/>
                    </a:schemeClr>
                  </a:gs>
                  <a:gs pos="76300">
                    <a:schemeClr val="bg1"/>
                  </a:gs>
                  <a:gs pos="100000">
                    <a:schemeClr val="bg1">
                      <a:lumMod val="95000"/>
                    </a:schemeClr>
                  </a:gs>
                </a:gsLst>
                <a:lin ang="16200000"/>
              </a:gradFill>
              <a:ln w="12700">
                <a:solidFill>
                  <a:schemeClr val="bg1"/>
                </a:solidFill>
                <a:miter lim="800000"/>
                <a:headEnd/>
                <a:tailEnd/>
              </a:ln>
              <a:effectLst>
                <a:outerShdw blurRad="50800" dist="38100" dir="2700000" algn="tl" rotWithShape="0">
                  <a:schemeClr val="bg1">
                    <a:lumMod val="65000"/>
                    <a:alpha val="40000"/>
                  </a:schemeClr>
                </a:outerShdw>
              </a:effectLst>
            </p:spPr>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89" name="Rektangulær billedforklaring 84"/>
              <p:cNvSpPr>
                <a:spLocks noChangeArrowheads="1"/>
              </p:cNvSpPr>
              <p:nvPr/>
            </p:nvSpPr>
            <p:spPr bwMode="auto">
              <a:xfrm>
                <a:off x="1999030" y="1251012"/>
                <a:ext cx="1195418" cy="956707"/>
              </a:xfrm>
              <a:prstGeom prst="wedgeRectCallout">
                <a:avLst>
                  <a:gd name="adj1" fmla="val 74074"/>
                  <a:gd name="adj2" fmla="val 40449"/>
                </a:avLst>
              </a:prstGeom>
              <a:gradFill rotWithShape="1">
                <a:gsLst>
                  <a:gs pos="0">
                    <a:schemeClr val="bg1">
                      <a:lumMod val="85000"/>
                    </a:schemeClr>
                  </a:gs>
                  <a:gs pos="76300">
                    <a:schemeClr val="bg1"/>
                  </a:gs>
                  <a:gs pos="100000">
                    <a:schemeClr val="bg1">
                      <a:lumMod val="95000"/>
                    </a:schemeClr>
                  </a:gs>
                </a:gsLst>
                <a:lin ang="16200000"/>
              </a:gradFill>
              <a:ln w="12700">
                <a:solidFill>
                  <a:schemeClr val="bg1"/>
                </a:solidFill>
                <a:miter lim="800000"/>
                <a:headEnd/>
                <a:tailEnd/>
              </a:ln>
              <a:effectLst>
                <a:outerShdw blurRad="50800" dist="38100" dir="2700000" algn="tl" rotWithShape="0">
                  <a:schemeClr val="bg1">
                    <a:lumMod val="65000"/>
                    <a:alpha val="40000"/>
                  </a:schemeClr>
                </a:outerShdw>
              </a:effectLst>
            </p:spPr>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32813" name="Rektangel 83"/>
              <p:cNvSpPr>
                <a:spLocks noChangeArrowheads="1"/>
              </p:cNvSpPr>
              <p:nvPr/>
            </p:nvSpPr>
            <p:spPr bwMode="auto">
              <a:xfrm>
                <a:off x="1676268" y="3385243"/>
                <a:ext cx="1206500" cy="1015929"/>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Dicembre ‘13</a:t>
                </a:r>
              </a:p>
              <a:p>
                <a:pPr algn="ctr" defTabSz="740038">
                  <a:spcBef>
                    <a:spcPct val="20000"/>
                  </a:spcBef>
                </a:pPr>
                <a:r>
                  <a:rPr lang="it-IT" sz="1292" b="1" noProof="1">
                    <a:solidFill>
                      <a:schemeClr val="accent1"/>
                    </a:solidFill>
                    <a:latin typeface="Calibri" pitchFamily="34" charset="0"/>
                    <a:cs typeface="Arial" charset="0"/>
                  </a:rPr>
                  <a:t>Mappatura laboratori e attrezzature</a:t>
                </a:r>
              </a:p>
            </p:txBody>
          </p:sp>
          <p:sp>
            <p:nvSpPr>
              <p:cNvPr id="32814" name="Rektangel 85"/>
              <p:cNvSpPr>
                <a:spLocks noChangeArrowheads="1"/>
              </p:cNvSpPr>
              <p:nvPr/>
            </p:nvSpPr>
            <p:spPr bwMode="auto">
              <a:xfrm>
                <a:off x="2015717" y="4391441"/>
                <a:ext cx="1286898" cy="1451548"/>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Novembre ‘13</a:t>
                </a:r>
              </a:p>
              <a:p>
                <a:pPr algn="ctr" defTabSz="740038">
                  <a:spcBef>
                    <a:spcPct val="20000"/>
                  </a:spcBef>
                </a:pPr>
                <a:r>
                  <a:rPr lang="it-IT" sz="1292" b="1" noProof="1">
                    <a:solidFill>
                      <a:schemeClr val="accent1"/>
                    </a:solidFill>
                    <a:latin typeface="Calibri" pitchFamily="34" charset="0"/>
                    <a:cs typeface="Arial" charset="0"/>
                  </a:rPr>
                  <a:t>Partecipazione a Tavoli </a:t>
                </a:r>
                <a:r>
                  <a:rPr lang="it-IT" sz="1108" b="1" noProof="1">
                    <a:solidFill>
                      <a:schemeClr val="accent1"/>
                    </a:solidFill>
                    <a:latin typeface="Calibri" pitchFamily="34" charset="0"/>
                    <a:cs typeface="Arial" charset="0"/>
                  </a:rPr>
                  <a:t>MISE-MIUR</a:t>
                </a:r>
                <a:r>
                  <a:rPr lang="it-IT" sz="1292" b="1" noProof="1">
                    <a:solidFill>
                      <a:schemeClr val="accent1"/>
                    </a:solidFill>
                    <a:latin typeface="Calibri" pitchFamily="34" charset="0"/>
                    <a:cs typeface="Arial" charset="0"/>
                  </a:rPr>
                  <a:t>. Test pilota sugli indicatori</a:t>
                </a:r>
              </a:p>
            </p:txBody>
          </p:sp>
          <p:sp>
            <p:nvSpPr>
              <p:cNvPr id="92" name="Rektangulær billedforklaring 86"/>
              <p:cNvSpPr>
                <a:spLocks noChangeArrowheads="1"/>
              </p:cNvSpPr>
              <p:nvPr/>
            </p:nvSpPr>
            <p:spPr bwMode="auto">
              <a:xfrm>
                <a:off x="3230491" y="669925"/>
                <a:ext cx="1488265" cy="956707"/>
              </a:xfrm>
              <a:prstGeom prst="wedgeRectCallout">
                <a:avLst>
                  <a:gd name="adj1" fmla="val 25671"/>
                  <a:gd name="adj2" fmla="val 80282"/>
                </a:avLst>
              </a:prstGeom>
              <a:gradFill rotWithShape="1">
                <a:gsLst>
                  <a:gs pos="0">
                    <a:schemeClr val="bg1">
                      <a:lumMod val="85000"/>
                    </a:schemeClr>
                  </a:gs>
                  <a:gs pos="76300">
                    <a:schemeClr val="bg1"/>
                  </a:gs>
                  <a:gs pos="100000">
                    <a:schemeClr val="bg1">
                      <a:lumMod val="95000"/>
                    </a:schemeClr>
                  </a:gs>
                </a:gsLst>
                <a:lin ang="16200000"/>
              </a:gradFill>
              <a:ln w="12700">
                <a:solidFill>
                  <a:schemeClr val="bg1"/>
                </a:solidFill>
                <a:miter lim="800000"/>
                <a:headEnd/>
                <a:tailEnd/>
              </a:ln>
              <a:effectLst>
                <a:outerShdw blurRad="50800" dist="38100" dir="2700000" algn="tl" rotWithShape="0">
                  <a:schemeClr val="bg1">
                    <a:lumMod val="65000"/>
                    <a:alpha val="40000"/>
                  </a:schemeClr>
                </a:outerShdw>
              </a:effectLst>
            </p:spPr>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32816" name="Rektangel 87"/>
              <p:cNvSpPr>
                <a:spLocks noChangeArrowheads="1"/>
              </p:cNvSpPr>
              <p:nvPr/>
            </p:nvSpPr>
            <p:spPr bwMode="auto">
              <a:xfrm>
                <a:off x="1662515" y="2390652"/>
                <a:ext cx="1287441" cy="1015929"/>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Gennaio ’14</a:t>
                </a:r>
              </a:p>
              <a:p>
                <a:pPr algn="ctr" defTabSz="740038">
                  <a:spcBef>
                    <a:spcPct val="20000"/>
                  </a:spcBef>
                </a:pPr>
                <a:r>
                  <a:rPr lang="it-IT" sz="1292" b="1" noProof="1">
                    <a:solidFill>
                      <a:schemeClr val="accent1"/>
                    </a:solidFill>
                    <a:latin typeface="Calibri" pitchFamily="34" charset="0"/>
                    <a:cs typeface="Arial" charset="0"/>
                  </a:rPr>
                  <a:t>Aggiornamento analisi di contesto</a:t>
                </a:r>
              </a:p>
            </p:txBody>
          </p:sp>
        </p:grpSp>
      </p:grpSp>
      <p:sp>
        <p:nvSpPr>
          <p:cNvPr id="32771" name="Rektangel 71"/>
          <p:cNvSpPr>
            <a:spLocks noChangeArrowheads="1"/>
          </p:cNvSpPr>
          <p:nvPr/>
        </p:nvSpPr>
        <p:spPr bwMode="auto">
          <a:xfrm>
            <a:off x="6759820" y="4799135"/>
            <a:ext cx="1822938" cy="529760"/>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Agosto-settembre  ‘13</a:t>
            </a:r>
          </a:p>
          <a:p>
            <a:pPr algn="ctr" defTabSz="740038">
              <a:spcBef>
                <a:spcPct val="20000"/>
              </a:spcBef>
            </a:pPr>
            <a:r>
              <a:rPr lang="it-IT" sz="1292" b="1" noProof="1">
                <a:solidFill>
                  <a:srgbClr val="00B0F0"/>
                </a:solidFill>
                <a:latin typeface="Calibri" pitchFamily="34" charset="0"/>
                <a:cs typeface="Arial" charset="0"/>
              </a:rPr>
              <a:t>Elaborazione Vision</a:t>
            </a:r>
          </a:p>
        </p:txBody>
      </p:sp>
      <p:sp>
        <p:nvSpPr>
          <p:cNvPr id="32772" name="Rektangel 83"/>
          <p:cNvSpPr>
            <a:spLocks noChangeArrowheads="1"/>
          </p:cNvSpPr>
          <p:nvPr/>
        </p:nvSpPr>
        <p:spPr bwMode="auto">
          <a:xfrm>
            <a:off x="5593374" y="5418993"/>
            <a:ext cx="1334965" cy="728597"/>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Ottobre ‘13</a:t>
            </a:r>
          </a:p>
          <a:p>
            <a:pPr algn="ctr" defTabSz="740038">
              <a:spcBef>
                <a:spcPct val="20000"/>
              </a:spcBef>
            </a:pPr>
            <a:r>
              <a:rPr lang="it-IT" sz="1292" b="1" noProof="1">
                <a:solidFill>
                  <a:srgbClr val="00B0F0"/>
                </a:solidFill>
                <a:latin typeface="Calibri" pitchFamily="34" charset="0"/>
                <a:cs typeface="Arial" charset="0"/>
              </a:rPr>
              <a:t>Partecipazione Tavoli </a:t>
            </a:r>
            <a:r>
              <a:rPr lang="it-IT" sz="1108" b="1" noProof="1">
                <a:solidFill>
                  <a:srgbClr val="00B0F0"/>
                </a:solidFill>
                <a:latin typeface="Calibri" pitchFamily="34" charset="0"/>
                <a:cs typeface="Arial" charset="0"/>
              </a:rPr>
              <a:t>MISE-MIUR</a:t>
            </a:r>
          </a:p>
        </p:txBody>
      </p:sp>
      <p:sp>
        <p:nvSpPr>
          <p:cNvPr id="32773" name="Rektangel 85"/>
          <p:cNvSpPr>
            <a:spLocks noChangeArrowheads="1"/>
          </p:cNvSpPr>
          <p:nvPr/>
        </p:nvSpPr>
        <p:spPr bwMode="auto">
          <a:xfrm>
            <a:off x="4377104" y="5351585"/>
            <a:ext cx="1170842" cy="927433"/>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Novembre ‘13</a:t>
            </a:r>
          </a:p>
          <a:p>
            <a:pPr algn="ctr" defTabSz="740038">
              <a:spcBef>
                <a:spcPct val="20000"/>
              </a:spcBef>
            </a:pPr>
            <a:r>
              <a:rPr lang="it-IT" sz="1292" b="1" noProof="1">
                <a:solidFill>
                  <a:schemeClr val="accent1"/>
                </a:solidFill>
                <a:latin typeface="Calibri" pitchFamily="34" charset="0"/>
                <a:cs typeface="Arial" charset="0"/>
              </a:rPr>
              <a:t>Elaborazione primo Sistema di indicatori</a:t>
            </a:r>
          </a:p>
        </p:txBody>
      </p:sp>
      <p:sp>
        <p:nvSpPr>
          <p:cNvPr id="32774" name="Rektangel 87"/>
          <p:cNvSpPr>
            <a:spLocks noChangeArrowheads="1"/>
          </p:cNvSpPr>
          <p:nvPr/>
        </p:nvSpPr>
        <p:spPr bwMode="auto">
          <a:xfrm>
            <a:off x="3118339" y="1745274"/>
            <a:ext cx="1170843" cy="927433"/>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Gennaio ’14</a:t>
            </a:r>
          </a:p>
          <a:p>
            <a:pPr algn="ctr" defTabSz="740038">
              <a:spcBef>
                <a:spcPct val="20000"/>
              </a:spcBef>
            </a:pPr>
            <a:r>
              <a:rPr lang="it-IT" sz="1292" b="1" noProof="1">
                <a:solidFill>
                  <a:schemeClr val="accent1"/>
                </a:solidFill>
                <a:latin typeface="Calibri" pitchFamily="34" charset="0"/>
                <a:cs typeface="Arial" charset="0"/>
              </a:rPr>
              <a:t>Schede tematiche priorità</a:t>
            </a:r>
          </a:p>
        </p:txBody>
      </p:sp>
      <p:sp>
        <p:nvSpPr>
          <p:cNvPr id="32775" name="Rektangel 87"/>
          <p:cNvSpPr>
            <a:spLocks noChangeArrowheads="1"/>
          </p:cNvSpPr>
          <p:nvPr/>
        </p:nvSpPr>
        <p:spPr bwMode="auto">
          <a:xfrm>
            <a:off x="4347797" y="1334966"/>
            <a:ext cx="1560634" cy="529760"/>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Febbraio ’14</a:t>
            </a:r>
          </a:p>
          <a:p>
            <a:pPr algn="ctr" defTabSz="740038">
              <a:spcBef>
                <a:spcPct val="20000"/>
              </a:spcBef>
            </a:pPr>
            <a:r>
              <a:rPr lang="it-IT" sz="1292" b="1" noProof="1">
                <a:solidFill>
                  <a:srgbClr val="FF0000"/>
                </a:solidFill>
                <a:latin typeface="Calibri" pitchFamily="34" charset="0"/>
                <a:cs typeface="Arial" charset="0"/>
              </a:rPr>
              <a:t>Invio Progress n. 2</a:t>
            </a:r>
          </a:p>
        </p:txBody>
      </p:sp>
      <p:grpSp>
        <p:nvGrpSpPr>
          <p:cNvPr id="32776" name="Gruppo 6"/>
          <p:cNvGrpSpPr>
            <a:grpSpLocks/>
          </p:cNvGrpSpPr>
          <p:nvPr/>
        </p:nvGrpSpPr>
        <p:grpSpPr bwMode="auto">
          <a:xfrm>
            <a:off x="168520" y="5423389"/>
            <a:ext cx="2781300" cy="778119"/>
            <a:chOff x="-147930" y="-613865"/>
            <a:chExt cx="3525613" cy="843596"/>
          </a:xfrm>
        </p:grpSpPr>
        <p:graphicFrame>
          <p:nvGraphicFramePr>
            <p:cNvPr id="3" name="Diagramma 2"/>
            <p:cNvGraphicFramePr/>
            <p:nvPr/>
          </p:nvGraphicFramePr>
          <p:xfrm>
            <a:off x="-147930" y="-607827"/>
            <a:ext cx="3525613" cy="83755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2782" name="CasellaDiTesto 4"/>
            <p:cNvSpPr txBox="1">
              <a:spLocks noChangeArrowheads="1"/>
            </p:cNvSpPr>
            <p:nvPr/>
          </p:nvSpPr>
          <p:spPr bwMode="auto">
            <a:xfrm>
              <a:off x="52235" y="-613865"/>
              <a:ext cx="3125282" cy="408057"/>
            </a:xfrm>
            <a:prstGeom prst="rect">
              <a:avLst/>
            </a:prstGeom>
            <a:noFill/>
            <a:ln w="9525">
              <a:noFill/>
              <a:miter lim="800000"/>
              <a:headEnd/>
              <a:tailEnd/>
            </a:ln>
          </p:spPr>
          <p:txBody>
            <a:bodyPr>
              <a:spAutoFit/>
            </a:bodyPr>
            <a:lstStyle/>
            <a:p>
              <a:r>
                <a:rPr lang="it-IT" sz="1662" b="1">
                  <a:solidFill>
                    <a:srgbClr val="FF0000"/>
                  </a:solidFill>
                </a:rPr>
                <a:t>Il nostro percorso </a:t>
              </a:r>
              <a:r>
                <a:rPr lang="it-IT" sz="1846" b="1">
                  <a:solidFill>
                    <a:srgbClr val="FF0000"/>
                  </a:solidFill>
                </a:rPr>
                <a:t>…</a:t>
              </a:r>
            </a:p>
          </p:txBody>
        </p:sp>
      </p:grpSp>
      <p:pic>
        <p:nvPicPr>
          <p:cNvPr id="5127" name="Picture 7" descr="C:\Users\User\AppData\Local\Microsoft\Windows\Temporary Internet Files\Content.IE5\DZV5P7NP\MC900441896[1].wmf"/>
          <p:cNvPicPr>
            <a:picLocks noChangeAspect="1" noChangeArrowheads="1"/>
          </p:cNvPicPr>
          <p:nvPr/>
        </p:nvPicPr>
        <p:blipFill>
          <a:blip r:embed="rId13" cstate="print">
            <a:duotone>
              <a:schemeClr val="accent2">
                <a:shade val="45000"/>
                <a:satMod val="135000"/>
              </a:schemeClr>
              <a:prstClr val="white"/>
            </a:duotone>
            <a:extLst/>
          </a:blip>
          <a:srcRect/>
          <a:stretch>
            <a:fillRect/>
          </a:stretch>
        </p:blipFill>
        <p:spPr bwMode="auto">
          <a:xfrm>
            <a:off x="779205" y="4112902"/>
            <a:ext cx="1768251" cy="1226287"/>
          </a:xfrm>
          <a:prstGeom prst="rect">
            <a:avLst/>
          </a:prstGeom>
          <a:noFill/>
          <a:extLst/>
        </p:spPr>
      </p:pic>
      <p:grpSp>
        <p:nvGrpSpPr>
          <p:cNvPr id="32778" name="Gruppo 86"/>
          <p:cNvGrpSpPr>
            <a:grpSpLocks/>
          </p:cNvGrpSpPr>
          <p:nvPr/>
        </p:nvGrpSpPr>
        <p:grpSpPr bwMode="auto">
          <a:xfrm>
            <a:off x="168520" y="5423389"/>
            <a:ext cx="2781300" cy="778119"/>
            <a:chOff x="-147930" y="-613865"/>
            <a:chExt cx="3525613" cy="843596"/>
          </a:xfrm>
        </p:grpSpPr>
        <p:graphicFrame>
          <p:nvGraphicFramePr>
            <p:cNvPr id="99" name="Diagramma 98"/>
            <p:cNvGraphicFramePr/>
            <p:nvPr/>
          </p:nvGraphicFramePr>
          <p:xfrm>
            <a:off x="-147930" y="-607827"/>
            <a:ext cx="3525613" cy="837558"/>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32780" name="CasellaDiTesto 99"/>
            <p:cNvSpPr txBox="1">
              <a:spLocks noChangeArrowheads="1"/>
            </p:cNvSpPr>
            <p:nvPr/>
          </p:nvSpPr>
          <p:spPr bwMode="auto">
            <a:xfrm>
              <a:off x="52235" y="-613865"/>
              <a:ext cx="3125282" cy="408057"/>
            </a:xfrm>
            <a:prstGeom prst="rect">
              <a:avLst/>
            </a:prstGeom>
            <a:noFill/>
            <a:ln w="9525">
              <a:noFill/>
              <a:miter lim="800000"/>
              <a:headEnd/>
              <a:tailEnd/>
            </a:ln>
          </p:spPr>
          <p:txBody>
            <a:bodyPr>
              <a:spAutoFit/>
            </a:bodyPr>
            <a:lstStyle/>
            <a:p>
              <a:r>
                <a:rPr lang="it-IT" sz="1662" b="1">
                  <a:solidFill>
                    <a:srgbClr val="FF0000"/>
                  </a:solidFill>
                </a:rPr>
                <a:t>Il nostro percorso </a:t>
              </a:r>
              <a:r>
                <a:rPr lang="it-IT" sz="1846" b="1">
                  <a:solidFill>
                    <a:srgbClr val="FF0000"/>
                  </a:solidFill>
                </a:rPr>
                <a:t>…</a:t>
              </a:r>
            </a:p>
          </p:txBody>
        </p:sp>
      </p:grpSp>
      <p:graphicFrame>
        <p:nvGraphicFramePr>
          <p:cNvPr id="51" name="Diagramma 50"/>
          <p:cNvGraphicFramePr/>
          <p:nvPr>
            <p:extLst>
              <p:ext uri="{D42A27DB-BD31-4B8C-83A1-F6EECF244321}">
                <p14:modId xmlns:p14="http://schemas.microsoft.com/office/powerpoint/2010/main" val="1265698129"/>
              </p:ext>
            </p:extLst>
          </p:nvPr>
        </p:nvGraphicFramePr>
        <p:xfrm>
          <a:off x="195858" y="738329"/>
          <a:ext cx="8768630" cy="720080"/>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spTree>
    <p:extLst>
      <p:ext uri="{BB962C8B-B14F-4D97-AF65-F5344CB8AC3E}">
        <p14:creationId xmlns:p14="http://schemas.microsoft.com/office/powerpoint/2010/main" val="37817442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txBox="1">
            <a:spLocks noGrp="1"/>
          </p:cNvSpPr>
          <p:nvPr>
            <p:ph type="title" idx="4294967295"/>
          </p:nvPr>
        </p:nvSpPr>
        <p:spPr>
          <a:xfrm>
            <a:off x="611560" y="1052736"/>
            <a:ext cx="7976089" cy="1302187"/>
          </a:xfrm>
        </p:spPr>
        <p:txBody>
          <a:bodyPr>
            <a:normAutofit fontScale="90000"/>
          </a:bodyPr>
          <a:lstStyle/>
          <a:p>
            <a:pPr marL="422041" lvl="0">
              <a:buSzPct val="45000"/>
              <a:defRPr/>
            </a:pPr>
            <a:r>
              <a:rPr lang="it-IT" sz="2215" dirty="0">
                <a:solidFill>
                  <a:schemeClr val="accent1">
                    <a:lumMod val="60000"/>
                    <a:lumOff val="40000"/>
                  </a:schemeClr>
                </a:solidFill>
                <a:latin typeface="Neo Sans Std Medium"/>
                <a:ea typeface="+mn-ea"/>
                <a:cs typeface="Arial" pitchFamily="34" charset="0"/>
              </a:rPr>
              <a:t> </a:t>
            </a:r>
            <a:br>
              <a:rPr lang="it-IT" sz="2215" dirty="0">
                <a:solidFill>
                  <a:schemeClr val="accent1">
                    <a:lumMod val="60000"/>
                    <a:lumOff val="40000"/>
                  </a:schemeClr>
                </a:solidFill>
                <a:latin typeface="Neo Sans Std Medium"/>
                <a:ea typeface="+mn-ea"/>
                <a:cs typeface="Arial" pitchFamily="34" charset="0"/>
              </a:rPr>
            </a:br>
            <a:r>
              <a:rPr lang="it-IT" sz="2000" b="1" dirty="0">
                <a:solidFill>
                  <a:schemeClr val="accent1">
                    <a:lumMod val="75000"/>
                  </a:schemeClr>
                </a:solidFill>
              </a:rPr>
              <a:t>A che punto è la definizione della RIS 3 </a:t>
            </a:r>
            <a:r>
              <a:rPr lang="it-IT" sz="2000" b="1" dirty="0" smtClean="0">
                <a:solidFill>
                  <a:schemeClr val="accent1">
                    <a:lumMod val="75000"/>
                  </a:schemeClr>
                </a:solidFill>
              </a:rPr>
              <a:t>Sicilia: prossime tappe</a:t>
            </a:r>
            <a:r>
              <a:rPr lang="it-IT" sz="2000" dirty="0"/>
              <a:t/>
            </a:r>
            <a:br>
              <a:rPr lang="it-IT" sz="2000" dirty="0"/>
            </a:br>
            <a:r>
              <a:rPr lang="it-IT" sz="2215" dirty="0" smtClean="0">
                <a:solidFill>
                  <a:schemeClr val="accent1">
                    <a:lumMod val="60000"/>
                    <a:lumOff val="40000"/>
                  </a:schemeClr>
                </a:solidFill>
                <a:latin typeface="Neo Sans Std Medium"/>
                <a:ea typeface="+mn-ea"/>
                <a:cs typeface="Arial" pitchFamily="34" charset="0"/>
              </a:rPr>
              <a:t>Azioni </a:t>
            </a:r>
            <a:r>
              <a:rPr lang="it-IT" sz="2215" dirty="0">
                <a:solidFill>
                  <a:schemeClr val="accent1">
                    <a:lumMod val="60000"/>
                    <a:lumOff val="40000"/>
                  </a:schemeClr>
                </a:solidFill>
                <a:latin typeface="Neo Sans Std Medium"/>
                <a:ea typeface="+mn-ea"/>
                <a:cs typeface="Arial" pitchFamily="34" charset="0"/>
              </a:rPr>
              <a:t>previste e risultati attesi nei prossimi mesi </a:t>
            </a:r>
            <a:br>
              <a:rPr lang="it-IT" sz="2215" dirty="0">
                <a:solidFill>
                  <a:schemeClr val="accent1">
                    <a:lumMod val="60000"/>
                    <a:lumOff val="40000"/>
                  </a:schemeClr>
                </a:solidFill>
                <a:latin typeface="Neo Sans Std Medium"/>
                <a:ea typeface="+mn-ea"/>
                <a:cs typeface="Arial" pitchFamily="34" charset="0"/>
              </a:rPr>
            </a:br>
            <a:r>
              <a:rPr lang="it-IT" sz="2215" dirty="0">
                <a:solidFill>
                  <a:schemeClr val="accent1">
                    <a:lumMod val="60000"/>
                    <a:lumOff val="40000"/>
                  </a:schemeClr>
                </a:solidFill>
                <a:latin typeface="Neo Sans Std Medium"/>
                <a:ea typeface="+mn-ea"/>
                <a:cs typeface="Arial" pitchFamily="34" charset="0"/>
              </a:rPr>
              <a:t>(aprile-dicembre 2014)</a:t>
            </a:r>
            <a:br>
              <a:rPr lang="it-IT" sz="2215" dirty="0">
                <a:solidFill>
                  <a:schemeClr val="accent1">
                    <a:lumMod val="60000"/>
                    <a:lumOff val="40000"/>
                  </a:schemeClr>
                </a:solidFill>
                <a:latin typeface="Neo Sans Std Medium"/>
                <a:ea typeface="+mn-ea"/>
                <a:cs typeface="Arial" pitchFamily="34" charset="0"/>
              </a:rPr>
            </a:br>
            <a:endParaRPr lang="it-IT" sz="2215" dirty="0">
              <a:solidFill>
                <a:schemeClr val="accent1">
                  <a:lumMod val="60000"/>
                  <a:lumOff val="40000"/>
                </a:schemeClr>
              </a:solidFill>
              <a:latin typeface="Neo Sans Std Medium"/>
              <a:ea typeface="+mn-ea"/>
              <a:cs typeface="Arial" pitchFamily="34" charset="0"/>
            </a:endParaRPr>
          </a:p>
        </p:txBody>
      </p:sp>
      <p:graphicFrame>
        <p:nvGraphicFramePr>
          <p:cNvPr id="3" name="Segnaposto contenuto 2"/>
          <p:cNvGraphicFramePr>
            <a:graphicFrameLocks noGrp="1"/>
          </p:cNvGraphicFramePr>
          <p:nvPr>
            <p:ph idx="4294967295"/>
            <p:extLst>
              <p:ext uri="{D42A27DB-BD31-4B8C-83A1-F6EECF244321}">
                <p14:modId xmlns:p14="http://schemas.microsoft.com/office/powerpoint/2010/main" val="3316845525"/>
              </p:ext>
            </p:extLst>
          </p:nvPr>
        </p:nvGraphicFramePr>
        <p:xfrm>
          <a:off x="450927" y="1767254"/>
          <a:ext cx="8175678" cy="4561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ma 3"/>
          <p:cNvGraphicFramePr/>
          <p:nvPr/>
        </p:nvGraphicFramePr>
        <p:xfrm>
          <a:off x="914974" y="1501401"/>
          <a:ext cx="7696904" cy="79762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565711141"/>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p:cNvSpPr>
            <a:spLocks noGrp="1" noChangeArrowheads="1"/>
          </p:cNvSpPr>
          <p:nvPr>
            <p:ph type="title" idx="4294967295"/>
          </p:nvPr>
        </p:nvSpPr>
        <p:spPr>
          <a:xfrm>
            <a:off x="583865" y="908720"/>
            <a:ext cx="8232531" cy="863600"/>
          </a:xfrm>
          <a:noFill/>
        </p:spPr>
        <p:txBody>
          <a:bodyPr/>
          <a:lstStyle/>
          <a:p>
            <a:pPr algn="ctr">
              <a:defRPr/>
            </a:pPr>
            <a:r>
              <a:rPr lang="it-IT" sz="2400" kern="1200" dirty="0" smtClean="0">
                <a:solidFill>
                  <a:schemeClr val="accent2"/>
                </a:solidFill>
                <a:latin typeface="Neo Sans Std Medium" pitchFamily="34" charset="0"/>
                <a:ea typeface="+mn-ea"/>
                <a:cs typeface="+mn-cs"/>
              </a:rPr>
              <a:t>La RIS 3 Sicilia ha </a:t>
            </a:r>
            <a:r>
              <a:rPr lang="it-IT" sz="2400" kern="1200" dirty="0">
                <a:solidFill>
                  <a:schemeClr val="accent2"/>
                </a:solidFill>
                <a:latin typeface="Neo Sans Std Medium" pitchFamily="34" charset="0"/>
                <a:ea typeface="+mn-ea"/>
                <a:cs typeface="+mn-cs"/>
              </a:rPr>
              <a:t>avviato un processo per </a:t>
            </a:r>
            <a:r>
              <a:rPr lang="it-IT" sz="2400" kern="1200" dirty="0" smtClean="0">
                <a:solidFill>
                  <a:schemeClr val="accent2"/>
                </a:solidFill>
                <a:latin typeface="Neo Sans Std Medium" pitchFamily="34" charset="0"/>
                <a:ea typeface="+mn-ea"/>
                <a:cs typeface="+mn-cs"/>
              </a:rPr>
              <a:t>valorizzare</a:t>
            </a:r>
            <a:br>
              <a:rPr lang="it-IT" sz="2400" kern="1200" dirty="0" smtClean="0">
                <a:solidFill>
                  <a:schemeClr val="accent2"/>
                </a:solidFill>
                <a:latin typeface="Neo Sans Std Medium" pitchFamily="34" charset="0"/>
                <a:ea typeface="+mn-ea"/>
                <a:cs typeface="+mn-cs"/>
              </a:rPr>
            </a:br>
            <a:r>
              <a:rPr lang="it-IT" sz="2400" kern="1200" dirty="0" smtClean="0">
                <a:solidFill>
                  <a:schemeClr val="accent2"/>
                </a:solidFill>
                <a:latin typeface="Neo Sans Std Medium" pitchFamily="34" charset="0"/>
                <a:ea typeface="+mn-ea"/>
                <a:cs typeface="+mn-cs"/>
              </a:rPr>
              <a:t> </a:t>
            </a:r>
            <a:r>
              <a:rPr lang="it-IT" sz="2400" kern="1200" dirty="0">
                <a:solidFill>
                  <a:schemeClr val="accent2"/>
                </a:solidFill>
                <a:latin typeface="Neo Sans Std Medium" pitchFamily="34" charset="0"/>
                <a:ea typeface="+mn-ea"/>
                <a:cs typeface="+mn-cs"/>
              </a:rPr>
              <a:t>il potenziale individuato </a:t>
            </a:r>
            <a:r>
              <a:rPr lang="it-IT" sz="2400" kern="1200" dirty="0" smtClean="0">
                <a:solidFill>
                  <a:schemeClr val="accent2"/>
                </a:solidFill>
                <a:latin typeface="Neo Sans Std Medium" pitchFamily="34" charset="0"/>
                <a:ea typeface="+mn-ea"/>
                <a:cs typeface="+mn-cs"/>
              </a:rPr>
              <a:t>attraverso:</a:t>
            </a:r>
            <a:endParaRPr lang="it-IT" sz="2400" kern="1200" dirty="0">
              <a:solidFill>
                <a:schemeClr val="accent2"/>
              </a:solidFill>
              <a:latin typeface="Neo Sans Std Medium" pitchFamily="34" charset="0"/>
              <a:ea typeface="+mn-ea"/>
              <a:cs typeface="+mn-cs"/>
            </a:endParaRPr>
          </a:p>
        </p:txBody>
      </p:sp>
      <p:graphicFrame>
        <p:nvGraphicFramePr>
          <p:cNvPr id="2" name="Diagramma 1"/>
          <p:cNvGraphicFramePr/>
          <p:nvPr>
            <p:extLst>
              <p:ext uri="{D42A27DB-BD31-4B8C-83A1-F6EECF244321}">
                <p14:modId xmlns:p14="http://schemas.microsoft.com/office/powerpoint/2010/main" val="3568877063"/>
              </p:ext>
            </p:extLst>
          </p:nvPr>
        </p:nvGraphicFramePr>
        <p:xfrm>
          <a:off x="716802" y="1772816"/>
          <a:ext cx="7976271" cy="46805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4073621"/>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2"/>
          <p:cNvSpPr>
            <a:spLocks noGrp="1" noChangeArrowheads="1"/>
          </p:cNvSpPr>
          <p:nvPr>
            <p:ph type="title" idx="4294967295"/>
          </p:nvPr>
        </p:nvSpPr>
        <p:spPr>
          <a:xfrm>
            <a:off x="1835696" y="548680"/>
            <a:ext cx="5472608" cy="432048"/>
          </a:xfrm>
          <a:noFill/>
        </p:spPr>
        <p:txBody>
          <a:bodyPr>
            <a:normAutofit fontScale="90000"/>
          </a:bodyPr>
          <a:lstStyle/>
          <a:p>
            <a:pPr algn="ctr">
              <a:defRPr/>
            </a:pPr>
            <a:r>
              <a:rPr lang="it-IT" sz="3200" kern="1200" dirty="0">
                <a:solidFill>
                  <a:schemeClr val="accent2"/>
                </a:solidFill>
                <a:latin typeface="Neo Sans Std Medium" pitchFamily="34" charset="0"/>
                <a:ea typeface="+mn-ea"/>
                <a:cs typeface="+mn-cs"/>
              </a:rPr>
              <a:t>Obiettivi</a:t>
            </a:r>
          </a:p>
        </p:txBody>
      </p:sp>
      <p:graphicFrame>
        <p:nvGraphicFramePr>
          <p:cNvPr id="2" name="Diagramma 1"/>
          <p:cNvGraphicFramePr/>
          <p:nvPr>
            <p:extLst>
              <p:ext uri="{D42A27DB-BD31-4B8C-83A1-F6EECF244321}">
                <p14:modId xmlns:p14="http://schemas.microsoft.com/office/powerpoint/2010/main" val="390167410"/>
              </p:ext>
            </p:extLst>
          </p:nvPr>
        </p:nvGraphicFramePr>
        <p:xfrm>
          <a:off x="251520" y="1196752"/>
          <a:ext cx="8693073" cy="52565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58783166"/>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6"/>
          <p:cNvGraphicFramePr>
            <a:graphicFrameLocks noGrp="1"/>
          </p:cNvGraphicFramePr>
          <p:nvPr>
            <p:extLst/>
          </p:nvPr>
        </p:nvGraphicFramePr>
        <p:xfrm>
          <a:off x="360735" y="2099622"/>
          <a:ext cx="8465275" cy="3992723"/>
        </p:xfrm>
        <a:graphic>
          <a:graphicData uri="http://schemas.openxmlformats.org/drawingml/2006/table">
            <a:tbl>
              <a:tblPr firstRow="1" bandRow="1">
                <a:effectLst>
                  <a:outerShdw blurRad="50800" dist="38100" dir="5400000" algn="t" rotWithShape="0">
                    <a:prstClr val="black">
                      <a:alpha val="40000"/>
                    </a:prstClr>
                  </a:outerShdw>
                </a:effectLst>
                <a:tableStyleId>{21E4AEA4-8DFA-4A89-87EB-49C32662AFE0}</a:tableStyleId>
              </a:tblPr>
              <a:tblGrid>
                <a:gridCol w="3215492"/>
                <a:gridCol w="2450780"/>
                <a:gridCol w="2799003"/>
              </a:tblGrid>
              <a:tr h="385099">
                <a:tc>
                  <a:txBody>
                    <a:bodyPr/>
                    <a:lstStyle/>
                    <a:p>
                      <a:pPr algn="ctr">
                        <a:spcAft>
                          <a:spcPts val="0"/>
                        </a:spcAft>
                      </a:pPr>
                      <a:r>
                        <a:rPr lang="it-IT" sz="1100" dirty="0" smtClean="0">
                          <a:effectLst/>
                        </a:rPr>
                        <a:t>OBIETTIVI GENERALI</a:t>
                      </a:r>
                      <a:endParaRPr lang="it-IT" sz="1100" b="1" dirty="0" smtClean="0">
                        <a:solidFill>
                          <a:schemeClr val="bg1"/>
                        </a:solidFill>
                        <a:effectLst/>
                      </a:endParaRPr>
                    </a:p>
                  </a:txBody>
                  <a:tcPr marL="61259" marR="61259" marT="0" marB="0" anchor="ctr">
                    <a:lnB w="12700" cap="flat" cmpd="sng" algn="ctr">
                      <a:solidFill>
                        <a:schemeClr val="tx1"/>
                      </a:solidFill>
                      <a:prstDash val="solid"/>
                      <a:round/>
                      <a:headEnd type="none" w="med" len="med"/>
                      <a:tailEnd type="none" w="med" len="med"/>
                    </a:lnB>
                  </a:tcPr>
                </a:tc>
                <a:tc>
                  <a:txBody>
                    <a:bodyPr/>
                    <a:lstStyle/>
                    <a:p>
                      <a:pPr algn="ctr">
                        <a:spcAft>
                          <a:spcPts val="0"/>
                        </a:spcAft>
                      </a:pPr>
                      <a:r>
                        <a:rPr lang="it-IT" sz="1100" dirty="0" smtClean="0">
                          <a:effectLst/>
                        </a:rPr>
                        <a:t>LEVE DEL CAMBIAMENTO</a:t>
                      </a:r>
                      <a:endParaRPr lang="it-IT" sz="1100" b="1" dirty="0">
                        <a:solidFill>
                          <a:schemeClr val="bg1"/>
                        </a:solidFill>
                        <a:effectLst/>
                        <a:latin typeface="Calibri"/>
                        <a:ea typeface="Calibri"/>
                        <a:cs typeface="Calibri"/>
                      </a:endParaRPr>
                    </a:p>
                  </a:txBody>
                  <a:tcPr marL="61259" marR="61259" marT="0" marB="0" anchor="ctr">
                    <a:lnB w="12700" cap="flat" cmpd="sng" algn="ctr">
                      <a:solidFill>
                        <a:schemeClr val="tx1"/>
                      </a:solidFill>
                      <a:prstDash val="solid"/>
                      <a:round/>
                      <a:headEnd type="none" w="med" len="med"/>
                      <a:tailEnd type="none" w="med" len="med"/>
                    </a:lnB>
                  </a:tcPr>
                </a:tc>
                <a:tc>
                  <a:txBody>
                    <a:bodyPr/>
                    <a:lstStyle/>
                    <a:p>
                      <a:pPr algn="ctr">
                        <a:spcAft>
                          <a:spcPts val="0"/>
                        </a:spcAft>
                      </a:pPr>
                      <a:r>
                        <a:rPr lang="it-IT" sz="1100" dirty="0" smtClean="0">
                          <a:effectLst/>
                        </a:rPr>
                        <a:t>RISORSE DA ATTIVARE</a:t>
                      </a:r>
                      <a:endParaRPr lang="it-IT" sz="1100" b="1" dirty="0">
                        <a:solidFill>
                          <a:schemeClr val="bg1"/>
                        </a:solidFill>
                        <a:effectLst/>
                        <a:latin typeface="Calibri"/>
                        <a:ea typeface="Calibri"/>
                        <a:cs typeface="Calibri"/>
                      </a:endParaRPr>
                    </a:p>
                  </a:txBody>
                  <a:tcPr marL="61259" marR="61259" marT="0" marB="0" anchor="ctr">
                    <a:lnB w="12700" cap="flat" cmpd="sng" algn="ctr">
                      <a:solidFill>
                        <a:schemeClr val="tx1"/>
                      </a:solidFill>
                      <a:prstDash val="solid"/>
                      <a:round/>
                      <a:headEnd type="none" w="med" len="med"/>
                      <a:tailEnd type="none" w="med" len="med"/>
                    </a:lnB>
                  </a:tcPr>
                </a:tc>
              </a:tr>
              <a:tr h="571333">
                <a:tc rowSpan="3">
                  <a:txBody>
                    <a:bodyPr/>
                    <a:lstStyle/>
                    <a:p>
                      <a:pPr marL="0" algn="just" defTabSz="914400" rtl="0" eaLnBrk="1" latinLnBrk="0" hangingPunct="1">
                        <a:lnSpc>
                          <a:spcPct val="115000"/>
                        </a:lnSpc>
                        <a:spcAft>
                          <a:spcPts val="0"/>
                        </a:spcAft>
                      </a:pPr>
                      <a:r>
                        <a:rPr lang="it-IT" sz="1000" b="1" kern="1200" dirty="0"/>
                        <a:t>Rafforzare il sistema produttivo regionale</a:t>
                      </a:r>
                      <a:r>
                        <a:rPr lang="it-IT" sz="1300" dirty="0">
                          <a:effectLst/>
                        </a:rPr>
                        <a:t> </a:t>
                      </a:r>
                      <a:r>
                        <a:rPr lang="it-IT" sz="1000" kern="1200" dirty="0"/>
                        <a:t>supportando il posizionamento nelle aree tecnologiche in cui la regione vanta delle competenze </a:t>
                      </a:r>
                      <a:r>
                        <a:rPr lang="it-IT" sz="1000" kern="1200" dirty="0" smtClean="0"/>
                        <a:t>distintive ( KETs: micro-elettronica e biotecnologie) </a:t>
                      </a:r>
                      <a:r>
                        <a:rPr lang="it-IT" sz="1000" kern="1200" dirty="0"/>
                        <a:t>e promuovendo </a:t>
                      </a:r>
                      <a:r>
                        <a:rPr lang="it-IT" sz="1000" kern="1200" dirty="0" smtClean="0"/>
                        <a:t>l’innalzamento del livello </a:t>
                      </a:r>
                      <a:r>
                        <a:rPr lang="it-IT" sz="1000" kern="1200" dirty="0"/>
                        <a:t>tecnologico e la scoperta imprenditoriale nei settori produttivi tradizionali</a:t>
                      </a:r>
                      <a:endParaRPr lang="it-IT" sz="1000"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smtClean="0"/>
                        <a:t>Significativo posizionamento </a:t>
                      </a:r>
                      <a:r>
                        <a:rPr lang="it-IT" sz="1000" b="1" kern="1200" dirty="0"/>
                        <a:t>competitivo</a:t>
                      </a:r>
                      <a:r>
                        <a:rPr lang="it-IT" sz="1000" kern="1200" dirty="0"/>
                        <a:t> del sistema regione nel presidio di alcune </a:t>
                      </a:r>
                      <a:r>
                        <a:rPr lang="it-IT" sz="1000" kern="1200" dirty="0" smtClean="0"/>
                        <a:t>KETs</a:t>
                      </a: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solidFill>
                            <a:schemeClr val="dk1"/>
                          </a:solidFill>
                          <a:latin typeface="+mn-lt"/>
                          <a:ea typeface="+mn-ea"/>
                          <a:cs typeface="+mn-cs"/>
                        </a:rPr>
                        <a:t>Aree di expertise chiave,  </a:t>
                      </a:r>
                      <a:r>
                        <a:rPr lang="it-IT" sz="1000" kern="1200" dirty="0"/>
                        <a:t>sistemi avanzati di relazione tra Università, centri di ricerca, grandi imprese  &amp; PMI </a:t>
                      </a:r>
                      <a:endParaRPr lang="it-IT" sz="1000"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773723">
                <a:tc vMerge="1">
                  <a:txBody>
                    <a:bodyPr/>
                    <a:lstStyle/>
                    <a:p>
                      <a:pPr marL="0" algn="just" defTabSz="914400" rtl="0" eaLnBrk="1" latinLnBrk="0" hangingPunct="1">
                        <a:lnSpc>
                          <a:spcPct val="115000"/>
                        </a:lnSpc>
                        <a:spcAft>
                          <a:spcPts val="0"/>
                        </a:spcAft>
                      </a:pPr>
                      <a:endParaRPr lang="it-IT" sz="1100" kern="1200" dirty="0">
                        <a:solidFill>
                          <a:schemeClr val="dk1"/>
                        </a:solidFill>
                        <a:latin typeface="+mn-lt"/>
                        <a:ea typeface="+mn-ea"/>
                        <a:cs typeface="+mn-cs"/>
                      </a:endParaRPr>
                    </a:p>
                  </a:txBody>
                  <a:tcPr marL="66364" marR="66364" marT="0" marB="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solidFill>
                            <a:schemeClr val="dk1"/>
                          </a:solidFill>
                          <a:latin typeface="+mn-lt"/>
                          <a:ea typeface="+mn-ea"/>
                          <a:cs typeface="+mn-cs"/>
                        </a:rPr>
                        <a:t>Densità del tessuto economico/imprenditoriale </a:t>
                      </a:r>
                      <a:r>
                        <a:rPr lang="it-IT" sz="1000" b="0" kern="1200" dirty="0">
                          <a:solidFill>
                            <a:schemeClr val="dk1"/>
                          </a:solidFill>
                          <a:latin typeface="+mn-lt"/>
                          <a:ea typeface="+mn-ea"/>
                          <a:cs typeface="+mn-cs"/>
                        </a:rPr>
                        <a:t>tradizionale (n. imprese, addetti) e presenza di fattori endogeni </a:t>
                      </a:r>
                      <a:r>
                        <a:rPr lang="it-IT" sz="1000" b="0" kern="1200" dirty="0" smtClean="0">
                          <a:solidFill>
                            <a:schemeClr val="dk1"/>
                          </a:solidFill>
                          <a:latin typeface="+mn-lt"/>
                          <a:ea typeface="+mn-ea"/>
                          <a:cs typeface="+mn-cs"/>
                        </a:rPr>
                        <a:t>qualificanti</a:t>
                      </a:r>
                    </a:p>
                    <a:p>
                      <a:pPr marL="0" algn="just" defTabSz="914400" rtl="0" eaLnBrk="1" latinLnBrk="0" hangingPunct="1">
                        <a:spcAft>
                          <a:spcPts val="0"/>
                        </a:spcAft>
                      </a:pPr>
                      <a:endParaRPr lang="it-IT" sz="1000" b="0"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t>Asset sottoutilizzati</a:t>
                      </a:r>
                      <a:r>
                        <a:rPr lang="it-IT" sz="1000" kern="1200" dirty="0"/>
                        <a:t>, Settori economici tradizionali, innovazioni tecnologiche e non </a:t>
                      </a:r>
                      <a:endParaRPr lang="it-IT" sz="1000"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429415">
                <a:tc vMerge="1">
                  <a:txBody>
                    <a:bodyPr/>
                    <a:lstStyle/>
                    <a:p>
                      <a:pPr marL="0" algn="just" defTabSz="914400" rtl="0" eaLnBrk="1" latinLnBrk="0" hangingPunct="1">
                        <a:lnSpc>
                          <a:spcPct val="115000"/>
                        </a:lnSpc>
                        <a:spcAft>
                          <a:spcPts val="0"/>
                        </a:spcAft>
                      </a:pPr>
                      <a:endParaRPr lang="it-IT" sz="1100" kern="1200" dirty="0">
                        <a:solidFill>
                          <a:schemeClr val="dk1"/>
                        </a:solidFill>
                        <a:latin typeface="+mn-lt"/>
                        <a:ea typeface="+mn-ea"/>
                        <a:cs typeface="+mn-cs"/>
                      </a:endParaRPr>
                    </a:p>
                  </a:txBody>
                  <a:tcPr marL="66364" marR="66364" marT="0" marB="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t>Matching tra imprenditorialità</a:t>
                      </a:r>
                      <a:r>
                        <a:rPr lang="it-IT" sz="1000" kern="1200" dirty="0"/>
                        <a:t>, anche potenziale, e l’offerta di ricerca</a:t>
                      </a: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t>Imprenditori (</a:t>
                      </a:r>
                      <a:r>
                        <a:rPr lang="it-IT" sz="1000" b="1" kern="1200" dirty="0" err="1"/>
                        <a:t>tech</a:t>
                      </a:r>
                      <a:r>
                        <a:rPr lang="it-IT" sz="1000" b="1" kern="1200" dirty="0"/>
                        <a:t> e non </a:t>
                      </a:r>
                      <a:r>
                        <a:rPr lang="it-IT" sz="1000" b="1" kern="1200" dirty="0" err="1"/>
                        <a:t>tech</a:t>
                      </a:r>
                      <a:r>
                        <a:rPr lang="it-IT" sz="1000" kern="1200" dirty="0"/>
                        <a:t>) e </a:t>
                      </a:r>
                      <a:r>
                        <a:rPr lang="it-IT" sz="1000" b="1" kern="1200" dirty="0"/>
                        <a:t>offerta di ricerca </a:t>
                      </a: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711825">
                <a:tc rowSpan="2">
                  <a:txBody>
                    <a:bodyPr/>
                    <a:lstStyle/>
                    <a:p>
                      <a:pPr marL="0" algn="just" defTabSz="914400" rtl="0" eaLnBrk="1" latinLnBrk="0" hangingPunct="1">
                        <a:lnSpc>
                          <a:spcPct val="115000"/>
                        </a:lnSpc>
                        <a:spcAft>
                          <a:spcPts val="0"/>
                        </a:spcAft>
                      </a:pPr>
                      <a:r>
                        <a:rPr lang="it-IT" sz="1000" b="1" kern="1200" dirty="0" smtClean="0">
                          <a:solidFill>
                            <a:schemeClr val="dk1"/>
                          </a:solidFill>
                          <a:latin typeface="+mn-lt"/>
                          <a:ea typeface="+mn-ea"/>
                          <a:cs typeface="+mn-cs"/>
                        </a:rPr>
                        <a:t>Sostenere la diffusione di soluzioni e servizi innovativi </a:t>
                      </a:r>
                      <a:r>
                        <a:rPr lang="it-IT" sz="1000" kern="1200" dirty="0" smtClean="0"/>
                        <a:t>in risposta ai bisogni sociali, economici ed ambientali insoddisfatti e finalizzati a migliorare la qualità della vita dei siciliani</a:t>
                      </a:r>
                    </a:p>
                    <a:p>
                      <a:pPr marL="0" algn="just" defTabSz="914400" rtl="0" eaLnBrk="1" latinLnBrk="0" hangingPunct="1">
                        <a:lnSpc>
                          <a:spcPct val="115000"/>
                        </a:lnSpc>
                        <a:spcAft>
                          <a:spcPts val="0"/>
                        </a:spcAft>
                      </a:pPr>
                      <a:r>
                        <a:rPr lang="it-IT" sz="1000" kern="1200" dirty="0" smtClean="0"/>
                        <a:t> </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lnSpc>
                          <a:spcPct val="115000"/>
                        </a:lnSpc>
                        <a:spcAft>
                          <a:spcPts val="0"/>
                        </a:spcAft>
                      </a:pPr>
                      <a:r>
                        <a:rPr lang="it-IT" sz="1000" b="1" kern="1200" dirty="0"/>
                        <a:t>Utilizzo diffuso delle innovazioni </a:t>
                      </a:r>
                      <a:r>
                        <a:rPr lang="it-IT" sz="1000" kern="1200" dirty="0"/>
                        <a:t>(anche non </a:t>
                      </a:r>
                      <a:r>
                        <a:rPr lang="it-IT" sz="1000" kern="1200" dirty="0" err="1"/>
                        <a:t>tech</a:t>
                      </a:r>
                      <a:r>
                        <a:rPr lang="it-IT" sz="1000" kern="1200" dirty="0"/>
                        <a:t>) in risposta alle sfide sociali emergenti negli ambienti urbani e </a:t>
                      </a:r>
                      <a:r>
                        <a:rPr lang="it-IT" sz="1000" kern="1200" dirty="0" smtClean="0"/>
                        <a:t>marginali</a:t>
                      </a:r>
                    </a:p>
                    <a:p>
                      <a:pPr marL="0" algn="just" defTabSz="914400" rtl="0" eaLnBrk="1" latinLnBrk="0" hangingPunct="1">
                        <a:lnSpc>
                          <a:spcPct val="115000"/>
                        </a:lnSpc>
                        <a:spcAft>
                          <a:spcPts val="0"/>
                        </a:spcAft>
                      </a:pP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t>Applicazione delle KET </a:t>
                      </a:r>
                      <a:r>
                        <a:rPr lang="it-IT" sz="1000" kern="1200" dirty="0"/>
                        <a:t>in risposta alla domanda pubblica di servizi innovativi</a:t>
                      </a:r>
                      <a:endParaRPr lang="it-IT" sz="1000"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426774">
                <a:tc vMerge="1">
                  <a:txBody>
                    <a:bodyPr/>
                    <a:lstStyle/>
                    <a:p>
                      <a:endParaRPr lang="it-I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lnSpc>
                          <a:spcPct val="115000"/>
                        </a:lnSpc>
                        <a:spcAft>
                          <a:spcPts val="0"/>
                        </a:spcAft>
                      </a:pPr>
                      <a:r>
                        <a:rPr lang="it-IT" sz="1000" b="1" kern="1200" dirty="0"/>
                        <a:t>Presenza di nuove categorie </a:t>
                      </a:r>
                      <a:r>
                        <a:rPr lang="it-IT" sz="1000" kern="1200" dirty="0"/>
                        <a:t>degli innovatori sociali e di creativi culturali.</a:t>
                      </a: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t>Imprenditori (</a:t>
                      </a:r>
                      <a:r>
                        <a:rPr lang="it-IT" sz="1000" b="1" kern="1200" dirty="0" err="1"/>
                        <a:t>tech</a:t>
                      </a:r>
                      <a:r>
                        <a:rPr lang="it-IT" sz="1000" b="1" kern="1200" dirty="0"/>
                        <a:t> e non </a:t>
                      </a:r>
                      <a:r>
                        <a:rPr lang="it-IT" sz="1000" b="1" kern="1200" dirty="0" err="1"/>
                        <a:t>tech</a:t>
                      </a:r>
                      <a:r>
                        <a:rPr lang="it-IT" sz="1000" b="1" kern="1200" dirty="0"/>
                        <a:t>), creativi culturali e strumentalità dell’ICT </a:t>
                      </a: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694554">
                <a:tc>
                  <a:txBody>
                    <a:bodyPr/>
                    <a:lstStyle/>
                    <a:p>
                      <a:pPr marL="0" algn="just" defTabSz="914400" rtl="0" eaLnBrk="1" latinLnBrk="0" hangingPunct="1">
                        <a:lnSpc>
                          <a:spcPct val="115000"/>
                        </a:lnSpc>
                        <a:spcAft>
                          <a:spcPts val="0"/>
                        </a:spcAft>
                      </a:pPr>
                      <a:r>
                        <a:rPr lang="it-IT" sz="1000" b="1" kern="1200" dirty="0">
                          <a:solidFill>
                            <a:schemeClr val="dk1"/>
                          </a:solidFill>
                          <a:latin typeface="+mn-lt"/>
                          <a:ea typeface="+mn-ea"/>
                          <a:cs typeface="+mn-cs"/>
                        </a:rPr>
                        <a:t>Promuovere la più ampia diffusione della cultura dell’innovazione </a:t>
                      </a:r>
                      <a:r>
                        <a:rPr lang="it-IT" sz="1000" kern="1200" dirty="0"/>
                        <a:t>a tutti i livelli della società </a:t>
                      </a:r>
                      <a:r>
                        <a:rPr lang="it-IT" sz="1000" kern="1200" dirty="0" smtClean="0"/>
                        <a:t>regionale</a:t>
                      </a:r>
                      <a:endParaRPr lang="it-IT" sz="1000" kern="1200" dirty="0"/>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Aft>
                          <a:spcPts val="0"/>
                        </a:spcAft>
                      </a:pPr>
                      <a:r>
                        <a:rPr lang="it-IT" sz="1000" b="1" kern="1200" dirty="0"/>
                        <a:t>Potenziale latente di domanda / produzione di innovazione</a:t>
                      </a:r>
                      <a:r>
                        <a:rPr lang="it-IT" sz="1000" kern="1200" dirty="0"/>
                        <a:t> e creatività del capitale umano </a:t>
                      </a:r>
                      <a:endParaRPr lang="it-IT" sz="1000"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Aft>
                          <a:spcPts val="0"/>
                        </a:spcAft>
                      </a:pPr>
                      <a:r>
                        <a:rPr lang="it-IT" sz="1000" b="1" kern="1200" dirty="0"/>
                        <a:t>Imprenditori (</a:t>
                      </a:r>
                      <a:r>
                        <a:rPr lang="it-IT" sz="1000" b="1" kern="1200" dirty="0" err="1"/>
                        <a:t>tech</a:t>
                      </a:r>
                      <a:r>
                        <a:rPr lang="it-IT" sz="1000" b="1" kern="1200" dirty="0"/>
                        <a:t> e non </a:t>
                      </a:r>
                      <a:r>
                        <a:rPr lang="it-IT" sz="1000" b="1" kern="1200" dirty="0" err="1"/>
                        <a:t>tech</a:t>
                      </a:r>
                      <a:r>
                        <a:rPr lang="it-IT" sz="1000" b="1" kern="1200" dirty="0"/>
                        <a:t>), creativi culturali, studenti, giovani e pubblica amministrazione</a:t>
                      </a: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bl>
          </a:graphicData>
        </a:graphic>
      </p:graphicFrame>
      <p:sp>
        <p:nvSpPr>
          <p:cNvPr id="2" name="Rettangolo 1"/>
          <p:cNvSpPr/>
          <p:nvPr/>
        </p:nvSpPr>
        <p:spPr>
          <a:xfrm>
            <a:off x="384458" y="1195775"/>
            <a:ext cx="6846277" cy="433196"/>
          </a:xfrm>
          <a:prstGeom prst="rect">
            <a:avLst/>
          </a:prstGeom>
        </p:spPr>
        <p:txBody>
          <a:bodyPr>
            <a:spAutoFit/>
          </a:bodyPr>
          <a:lstStyle/>
          <a:p>
            <a:pPr algn="ctr">
              <a:defRPr/>
            </a:pPr>
            <a:r>
              <a:rPr lang="it-IT" sz="2215" b="1" dirty="0" smtClean="0">
                <a:solidFill>
                  <a:schemeClr val="accent2"/>
                </a:solidFill>
                <a:effectLst>
                  <a:outerShdw blurRad="38100" dist="38100" dir="2700000" algn="tl">
                    <a:srgbClr val="C0C0C0"/>
                  </a:outerShdw>
                </a:effectLst>
                <a:latin typeface="Neo Sans Std Medium" pitchFamily="34" charset="0"/>
              </a:rPr>
              <a:t>I PILASTRI DELLA STRATEGIA</a:t>
            </a:r>
            <a:endParaRPr lang="it-IT" sz="2215" b="1" dirty="0">
              <a:solidFill>
                <a:schemeClr val="accent2"/>
              </a:solidFill>
              <a:effectLst>
                <a:outerShdw blurRad="38100" dist="38100" dir="2700000" algn="tl">
                  <a:srgbClr val="C0C0C0"/>
                </a:outerShdw>
              </a:effectLst>
              <a:latin typeface="Neo Sans Std Medium" pitchFamily="34" charset="0"/>
            </a:endParaRPr>
          </a:p>
        </p:txBody>
      </p:sp>
      <p:grpSp>
        <p:nvGrpSpPr>
          <p:cNvPr id="5" name="Gruppo 4"/>
          <p:cNvGrpSpPr/>
          <p:nvPr/>
        </p:nvGrpSpPr>
        <p:grpSpPr>
          <a:xfrm>
            <a:off x="5103751" y="716413"/>
            <a:ext cx="3389498" cy="1395847"/>
            <a:chOff x="4736976" y="548680"/>
            <a:chExt cx="5184124" cy="1944216"/>
          </a:xfrm>
        </p:grpSpPr>
        <p:graphicFrame>
          <p:nvGraphicFramePr>
            <p:cNvPr id="6" name="Diagramma 5"/>
            <p:cNvGraphicFramePr/>
            <p:nvPr>
              <p:extLst/>
            </p:nvPr>
          </p:nvGraphicFramePr>
          <p:xfrm>
            <a:off x="6650736" y="548680"/>
            <a:ext cx="3270364" cy="19442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ma 6"/>
            <p:cNvGraphicFramePr/>
            <p:nvPr>
              <p:extLst/>
            </p:nvPr>
          </p:nvGraphicFramePr>
          <p:xfrm>
            <a:off x="4736976" y="1052736"/>
            <a:ext cx="4104456" cy="43088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sp>
        <p:nvSpPr>
          <p:cNvPr id="3" name="Rettangolo 2"/>
          <p:cNvSpPr/>
          <p:nvPr/>
        </p:nvSpPr>
        <p:spPr>
          <a:xfrm>
            <a:off x="0" y="579196"/>
            <a:ext cx="9036496" cy="646331"/>
          </a:xfrm>
          <a:prstGeom prst="rect">
            <a:avLst/>
          </a:prstGeom>
        </p:spPr>
        <p:txBody>
          <a:bodyPr wrap="square">
            <a:spAutoFit/>
          </a:bodyPr>
          <a:lstStyle/>
          <a:p>
            <a:r>
              <a:rPr lang="it-IT" b="1" dirty="0">
                <a:solidFill>
                  <a:schemeClr val="accent1">
                    <a:lumMod val="75000"/>
                  </a:schemeClr>
                </a:solidFill>
              </a:rPr>
              <a:t>A che punto è la definizione della RIS 3 </a:t>
            </a:r>
            <a:r>
              <a:rPr lang="it-IT" b="1" dirty="0" smtClean="0">
                <a:solidFill>
                  <a:schemeClr val="accent1">
                    <a:lumMod val="75000"/>
                  </a:schemeClr>
                </a:solidFill>
              </a:rPr>
              <a:t>Sicilia</a:t>
            </a:r>
            <a:r>
              <a:rPr lang="it-IT" b="1" dirty="0">
                <a:solidFill>
                  <a:schemeClr val="accent1">
                    <a:lumMod val="75000"/>
                  </a:schemeClr>
                </a:solidFill>
              </a:rPr>
              <a:t> </a:t>
            </a:r>
            <a:r>
              <a:rPr lang="it-IT" b="1" dirty="0" smtClean="0">
                <a:solidFill>
                  <a:schemeClr val="accent1">
                    <a:lumMod val="75000"/>
                  </a:schemeClr>
                </a:solidFill>
              </a:rPr>
              <a:t>(1)  </a:t>
            </a:r>
            <a:r>
              <a:rPr lang="it-IT" dirty="0"/>
              <a:t/>
            </a:r>
            <a:br>
              <a:rPr lang="it-IT" dirty="0"/>
            </a:br>
            <a:endParaRPr lang="it-IT" dirty="0"/>
          </a:p>
        </p:txBody>
      </p:sp>
    </p:spTree>
    <p:extLst>
      <p:ext uri="{BB962C8B-B14F-4D97-AF65-F5344CB8AC3E}">
        <p14:creationId xmlns:p14="http://schemas.microsoft.com/office/powerpoint/2010/main" val="1786079481"/>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2"/>
          <p:cNvSpPr>
            <a:spLocks noGrp="1" noChangeArrowheads="1"/>
          </p:cNvSpPr>
          <p:nvPr>
            <p:ph type="title" idx="4294967295"/>
          </p:nvPr>
        </p:nvSpPr>
        <p:spPr>
          <a:xfrm>
            <a:off x="450927" y="1434810"/>
            <a:ext cx="8232531" cy="864096"/>
          </a:xfrm>
          <a:noFill/>
        </p:spPr>
        <p:txBody>
          <a:bodyPr>
            <a:normAutofit fontScale="90000"/>
          </a:bodyPr>
          <a:lstStyle/>
          <a:p>
            <a:pPr lvl="0" algn="ctr"/>
            <a:r>
              <a:rPr lang="it-IT" sz="2215" dirty="0">
                <a:solidFill>
                  <a:schemeClr val="accent2"/>
                </a:solidFill>
                <a:latin typeface="Neo Sans Std Medium" pitchFamily="34" charset="0"/>
                <a:ea typeface="+mn-ea"/>
                <a:cs typeface="+mn-cs"/>
              </a:rPr>
              <a:t>Il perseguimento dei tre obiettivi verrà effettuato mediante un approccio </a:t>
            </a:r>
            <a:r>
              <a:rPr lang="it-IT" sz="2215" i="1" dirty="0">
                <a:solidFill>
                  <a:srgbClr val="FF0000"/>
                </a:solidFill>
                <a:latin typeface="Neo Sans Std Medium" pitchFamily="34" charset="0"/>
                <a:ea typeface="+mn-ea"/>
                <a:cs typeface="+mn-cs"/>
              </a:rPr>
              <a:t>logico duale </a:t>
            </a:r>
            <a:r>
              <a:rPr lang="it-IT" sz="2215" dirty="0">
                <a:solidFill>
                  <a:schemeClr val="accent2"/>
                </a:solidFill>
                <a:latin typeface="Neo Sans Std Medium" pitchFamily="34" charset="0"/>
                <a:ea typeface="+mn-ea"/>
                <a:cs typeface="+mn-cs"/>
              </a:rPr>
              <a:t/>
            </a:r>
            <a:br>
              <a:rPr lang="it-IT" sz="2215" dirty="0">
                <a:solidFill>
                  <a:schemeClr val="accent2"/>
                </a:solidFill>
                <a:latin typeface="Neo Sans Std Medium" pitchFamily="34" charset="0"/>
                <a:ea typeface="+mn-ea"/>
                <a:cs typeface="+mn-cs"/>
              </a:rPr>
            </a:br>
            <a:endParaRPr lang="it-IT" sz="2215" dirty="0">
              <a:solidFill>
                <a:schemeClr val="accent2"/>
              </a:solidFill>
              <a:latin typeface="Neo Sans Std Medium" pitchFamily="34" charset="0"/>
              <a:ea typeface="+mn-ea"/>
              <a:cs typeface="+mn-cs"/>
            </a:endParaRPr>
          </a:p>
        </p:txBody>
      </p:sp>
      <p:graphicFrame>
        <p:nvGraphicFramePr>
          <p:cNvPr id="3" name="Diagramma 2"/>
          <p:cNvGraphicFramePr/>
          <p:nvPr>
            <p:extLst/>
          </p:nvPr>
        </p:nvGraphicFramePr>
        <p:xfrm>
          <a:off x="583865" y="1833746"/>
          <a:ext cx="8375084" cy="39881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CasellaDiTesto 4"/>
          <p:cNvSpPr txBox="1"/>
          <p:nvPr/>
        </p:nvSpPr>
        <p:spPr>
          <a:xfrm>
            <a:off x="3973780" y="2128446"/>
            <a:ext cx="3057570" cy="348109"/>
          </a:xfrm>
          <a:prstGeom prst="rect">
            <a:avLst/>
          </a:prstGeom>
          <a:noFill/>
        </p:spPr>
        <p:txBody>
          <a:bodyPr wrap="square" rtlCol="0">
            <a:spAutoFit/>
          </a:bodyPr>
          <a:lstStyle/>
          <a:p>
            <a:pPr algn="ctr"/>
            <a:r>
              <a:rPr lang="it-IT" sz="1662" b="1" dirty="0">
                <a:solidFill>
                  <a:srgbClr val="FF0000"/>
                </a:solidFill>
                <a:effectLst>
                  <a:outerShdw blurRad="38100" dist="38100" dir="2700000" algn="tl">
                    <a:srgbClr val="C0C0C0"/>
                  </a:outerShdw>
                </a:effectLst>
                <a:latin typeface="Neo Sans Std Medium" pitchFamily="34" charset="0"/>
              </a:rPr>
              <a:t>Attraverso interventi ….</a:t>
            </a:r>
          </a:p>
        </p:txBody>
      </p:sp>
      <p:graphicFrame>
        <p:nvGraphicFramePr>
          <p:cNvPr id="4" name="Diagramma 3"/>
          <p:cNvGraphicFramePr/>
          <p:nvPr>
            <p:extLst/>
          </p:nvPr>
        </p:nvGraphicFramePr>
        <p:xfrm>
          <a:off x="5203455" y="4027221"/>
          <a:ext cx="3655791" cy="340439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7" name="Diagramma 6"/>
          <p:cNvGraphicFramePr/>
          <p:nvPr>
            <p:extLst/>
          </p:nvPr>
        </p:nvGraphicFramePr>
        <p:xfrm>
          <a:off x="517396" y="3894283"/>
          <a:ext cx="3988135" cy="146231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8" name="Rettangolo 7"/>
          <p:cNvSpPr/>
          <p:nvPr/>
        </p:nvSpPr>
        <p:spPr>
          <a:xfrm>
            <a:off x="0" y="579196"/>
            <a:ext cx="9036496" cy="646331"/>
          </a:xfrm>
          <a:prstGeom prst="rect">
            <a:avLst/>
          </a:prstGeom>
        </p:spPr>
        <p:txBody>
          <a:bodyPr wrap="square">
            <a:spAutoFit/>
          </a:bodyPr>
          <a:lstStyle/>
          <a:p>
            <a:r>
              <a:rPr lang="it-IT" b="1" dirty="0">
                <a:solidFill>
                  <a:schemeClr val="accent1">
                    <a:lumMod val="75000"/>
                  </a:schemeClr>
                </a:solidFill>
              </a:rPr>
              <a:t>A che punto è la definizione della RIS 3 </a:t>
            </a:r>
            <a:r>
              <a:rPr lang="it-IT" b="1" dirty="0" smtClean="0">
                <a:solidFill>
                  <a:schemeClr val="accent1">
                    <a:lumMod val="75000"/>
                  </a:schemeClr>
                </a:solidFill>
              </a:rPr>
              <a:t>Sicilia</a:t>
            </a:r>
            <a:r>
              <a:rPr lang="it-IT" b="1" dirty="0">
                <a:solidFill>
                  <a:schemeClr val="accent1">
                    <a:lumMod val="75000"/>
                  </a:schemeClr>
                </a:solidFill>
              </a:rPr>
              <a:t> </a:t>
            </a:r>
            <a:r>
              <a:rPr lang="it-IT" b="1" dirty="0" smtClean="0">
                <a:solidFill>
                  <a:schemeClr val="accent1">
                    <a:lumMod val="75000"/>
                  </a:schemeClr>
                </a:solidFill>
              </a:rPr>
              <a:t>(2)  </a:t>
            </a:r>
            <a:r>
              <a:rPr lang="it-IT" dirty="0"/>
              <a:t/>
            </a:r>
            <a:br>
              <a:rPr lang="it-IT" dirty="0"/>
            </a:br>
            <a:endParaRPr lang="it-IT" dirty="0"/>
          </a:p>
        </p:txBody>
      </p:sp>
      <p:graphicFrame>
        <p:nvGraphicFramePr>
          <p:cNvPr id="9" name="Diagramma 8"/>
          <p:cNvGraphicFramePr/>
          <p:nvPr>
            <p:extLst>
              <p:ext uri="{D42A27DB-BD31-4B8C-83A1-F6EECF244321}">
                <p14:modId xmlns:p14="http://schemas.microsoft.com/office/powerpoint/2010/main" val="2131588200"/>
              </p:ext>
            </p:extLst>
          </p:nvPr>
        </p:nvGraphicFramePr>
        <p:xfrm>
          <a:off x="6660232" y="204437"/>
          <a:ext cx="2138238" cy="1395847"/>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Tree>
    <p:extLst>
      <p:ext uri="{BB962C8B-B14F-4D97-AF65-F5344CB8AC3E}">
        <p14:creationId xmlns:p14="http://schemas.microsoft.com/office/powerpoint/2010/main" val="2420062735"/>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o 2"/>
          <p:cNvGrpSpPr/>
          <p:nvPr/>
        </p:nvGrpSpPr>
        <p:grpSpPr>
          <a:xfrm>
            <a:off x="5488975" y="204437"/>
            <a:ext cx="3389498" cy="1395847"/>
            <a:chOff x="4736976" y="548680"/>
            <a:chExt cx="5184124" cy="1944216"/>
          </a:xfrm>
        </p:grpSpPr>
        <p:graphicFrame>
          <p:nvGraphicFramePr>
            <p:cNvPr id="4" name="Diagramma 3"/>
            <p:cNvGraphicFramePr/>
            <p:nvPr>
              <p:extLst/>
            </p:nvPr>
          </p:nvGraphicFramePr>
          <p:xfrm>
            <a:off x="6650736" y="548680"/>
            <a:ext cx="3270364" cy="19442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ma 4"/>
            <p:cNvGraphicFramePr/>
            <p:nvPr>
              <p:extLst/>
            </p:nvPr>
          </p:nvGraphicFramePr>
          <p:xfrm>
            <a:off x="4736976" y="1052736"/>
            <a:ext cx="4104456" cy="43088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cxnSp>
        <p:nvCxnSpPr>
          <p:cNvPr id="26" name="Connettore 2 25"/>
          <p:cNvCxnSpPr>
            <a:endCxn id="46" idx="2"/>
          </p:cNvCxnSpPr>
          <p:nvPr/>
        </p:nvCxnSpPr>
        <p:spPr bwMode="auto">
          <a:xfrm>
            <a:off x="2368132" y="5007128"/>
            <a:ext cx="4834237" cy="10390"/>
          </a:xfrm>
          <a:prstGeom prst="straightConnector1">
            <a:avLst/>
          </a:prstGeom>
          <a:solidFill>
            <a:schemeClr val="accent1"/>
          </a:solidFill>
          <a:ln w="9525" cap="flat" cmpd="sng" algn="ctr">
            <a:solidFill>
              <a:schemeClr val="accent1"/>
            </a:solidFill>
            <a:prstDash val="sysDash"/>
            <a:round/>
            <a:headEnd type="none" w="med" len="med"/>
            <a:tailEnd type="arrow"/>
          </a:ln>
          <a:effectLst/>
        </p:spPr>
      </p:cxnSp>
      <p:grpSp>
        <p:nvGrpSpPr>
          <p:cNvPr id="8" name="Gruppo 7"/>
          <p:cNvGrpSpPr/>
          <p:nvPr/>
        </p:nvGrpSpPr>
        <p:grpSpPr>
          <a:xfrm>
            <a:off x="552357" y="902361"/>
            <a:ext cx="7404019" cy="5063960"/>
            <a:chOff x="558867" y="1169057"/>
            <a:chExt cx="5874263" cy="4498681"/>
          </a:xfrm>
        </p:grpSpPr>
        <p:graphicFrame>
          <p:nvGraphicFramePr>
            <p:cNvPr id="34820" name="Diagramma 34819"/>
            <p:cNvGraphicFramePr/>
            <p:nvPr>
              <p:extLst>
                <p:ext uri="{D42A27DB-BD31-4B8C-83A1-F6EECF244321}">
                  <p14:modId xmlns:p14="http://schemas.microsoft.com/office/powerpoint/2010/main" val="593181633"/>
                </p:ext>
              </p:extLst>
            </p:nvPr>
          </p:nvGraphicFramePr>
          <p:xfrm>
            <a:off x="2511464" y="1169057"/>
            <a:ext cx="1847058" cy="71025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37" name="Diagramma 36"/>
            <p:cNvGraphicFramePr/>
            <p:nvPr>
              <p:extLst>
                <p:ext uri="{D42A27DB-BD31-4B8C-83A1-F6EECF244321}">
                  <p14:modId xmlns:p14="http://schemas.microsoft.com/office/powerpoint/2010/main" val="4277644545"/>
                </p:ext>
              </p:extLst>
            </p:nvPr>
          </p:nvGraphicFramePr>
          <p:xfrm>
            <a:off x="4638469" y="1302304"/>
            <a:ext cx="1794661" cy="710253"/>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pSp>
          <p:nvGrpSpPr>
            <p:cNvPr id="6" name="Gruppo 5"/>
            <p:cNvGrpSpPr/>
            <p:nvPr/>
          </p:nvGrpSpPr>
          <p:grpSpPr>
            <a:xfrm>
              <a:off x="558867" y="1866981"/>
              <a:ext cx="5702872" cy="3800757"/>
              <a:chOff x="558867" y="1866981"/>
              <a:chExt cx="5702872" cy="3800757"/>
            </a:xfrm>
          </p:grpSpPr>
          <p:grpSp>
            <p:nvGrpSpPr>
              <p:cNvPr id="34837" name="Gruppo 34836"/>
              <p:cNvGrpSpPr/>
              <p:nvPr/>
            </p:nvGrpSpPr>
            <p:grpSpPr>
              <a:xfrm>
                <a:off x="558867" y="1866981"/>
                <a:ext cx="5702872" cy="3800757"/>
                <a:chOff x="605439" y="1736812"/>
                <a:chExt cx="6178111" cy="4117486"/>
              </a:xfrm>
            </p:grpSpPr>
            <p:grpSp>
              <p:nvGrpSpPr>
                <p:cNvPr id="34822" name="Gruppo 34821"/>
                <p:cNvGrpSpPr/>
                <p:nvPr/>
              </p:nvGrpSpPr>
              <p:grpSpPr>
                <a:xfrm>
                  <a:off x="605439" y="1736812"/>
                  <a:ext cx="6178111" cy="4117486"/>
                  <a:chOff x="963965" y="1340768"/>
                  <a:chExt cx="6523471" cy="4463230"/>
                </a:xfrm>
              </p:grpSpPr>
              <p:graphicFrame>
                <p:nvGraphicFramePr>
                  <p:cNvPr id="15" name="Diagramma 14"/>
                  <p:cNvGraphicFramePr/>
                  <p:nvPr>
                    <p:extLst/>
                  </p:nvPr>
                </p:nvGraphicFramePr>
                <p:xfrm>
                  <a:off x="1064568" y="1340768"/>
                  <a:ext cx="2016224" cy="577081"/>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aphicFrame>
                <p:nvGraphicFramePr>
                  <p:cNvPr id="14" name="Diagramma 13"/>
                  <p:cNvGraphicFramePr/>
                  <p:nvPr>
                    <p:extLst/>
                  </p:nvPr>
                </p:nvGraphicFramePr>
                <p:xfrm>
                  <a:off x="1103905" y="2038129"/>
                  <a:ext cx="2016224" cy="738664"/>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graphicFrame>
                <p:nvGraphicFramePr>
                  <p:cNvPr id="13" name="Diagramma 12"/>
                  <p:cNvGraphicFramePr/>
                  <p:nvPr>
                    <p:extLst/>
                  </p:nvPr>
                </p:nvGraphicFramePr>
                <p:xfrm>
                  <a:off x="1078693" y="2876659"/>
                  <a:ext cx="2016224" cy="415498"/>
                </p:xfrm>
                <a:graphic>
                  <a:graphicData uri="http://schemas.openxmlformats.org/drawingml/2006/diagram">
                    <dgm:relIds xmlns:dgm="http://schemas.openxmlformats.org/drawingml/2006/diagram" xmlns:r="http://schemas.openxmlformats.org/officeDocument/2006/relationships" r:dm="rId32" r:lo="rId33" r:qs="rId34" r:cs="rId35"/>
                  </a:graphicData>
                </a:graphic>
              </p:graphicFrame>
              <p:graphicFrame>
                <p:nvGraphicFramePr>
                  <p:cNvPr id="12" name="Diagramma 11"/>
                  <p:cNvGraphicFramePr/>
                  <p:nvPr>
                    <p:extLst/>
                  </p:nvPr>
                </p:nvGraphicFramePr>
                <p:xfrm>
                  <a:off x="1064568" y="3571336"/>
                  <a:ext cx="2016224" cy="900246"/>
                </p:xfrm>
                <a:graphic>
                  <a:graphicData uri="http://schemas.openxmlformats.org/drawingml/2006/diagram">
                    <dgm:relIds xmlns:dgm="http://schemas.openxmlformats.org/drawingml/2006/diagram" xmlns:r="http://schemas.openxmlformats.org/officeDocument/2006/relationships" r:dm="rId37" r:lo="rId38" r:qs="rId39" r:cs="rId40"/>
                  </a:graphicData>
                </a:graphic>
              </p:graphicFrame>
              <p:graphicFrame>
                <p:nvGraphicFramePr>
                  <p:cNvPr id="7" name="Diagramma 6"/>
                  <p:cNvGraphicFramePr/>
                  <p:nvPr>
                    <p:extLst>
                      <p:ext uri="{D42A27DB-BD31-4B8C-83A1-F6EECF244321}">
                        <p14:modId xmlns:p14="http://schemas.microsoft.com/office/powerpoint/2010/main" val="94817789"/>
                      </p:ext>
                    </p:extLst>
                  </p:nvPr>
                </p:nvGraphicFramePr>
                <p:xfrm>
                  <a:off x="1064568" y="4549328"/>
                  <a:ext cx="2016224" cy="577081"/>
                </p:xfrm>
                <a:graphic>
                  <a:graphicData uri="http://schemas.openxmlformats.org/drawingml/2006/diagram">
                    <dgm:relIds xmlns:dgm="http://schemas.openxmlformats.org/drawingml/2006/diagram" xmlns:r="http://schemas.openxmlformats.org/officeDocument/2006/relationships" r:dm="rId42" r:lo="rId43" r:qs="rId44" r:cs="rId45"/>
                  </a:graphicData>
                </a:graphic>
              </p:graphicFrame>
              <p:graphicFrame>
                <p:nvGraphicFramePr>
                  <p:cNvPr id="17" name="Diagramma 16"/>
                  <p:cNvGraphicFramePr/>
                  <p:nvPr>
                    <p:extLst>
                      <p:ext uri="{D42A27DB-BD31-4B8C-83A1-F6EECF244321}">
                        <p14:modId xmlns:p14="http://schemas.microsoft.com/office/powerpoint/2010/main" val="1462772840"/>
                      </p:ext>
                    </p:extLst>
                  </p:nvPr>
                </p:nvGraphicFramePr>
                <p:xfrm>
                  <a:off x="963965" y="5155926"/>
                  <a:ext cx="6523471" cy="648072"/>
                </p:xfrm>
                <a:graphic>
                  <a:graphicData uri="http://schemas.openxmlformats.org/drawingml/2006/diagram">
                    <dgm:relIds xmlns:dgm="http://schemas.openxmlformats.org/drawingml/2006/diagram" xmlns:r="http://schemas.openxmlformats.org/officeDocument/2006/relationships" r:dm="rId47" r:lo="rId48" r:qs="rId49" r:cs="rId50"/>
                  </a:graphicData>
                </a:graphic>
              </p:graphicFrame>
              <p:cxnSp>
                <p:nvCxnSpPr>
                  <p:cNvPr id="21" name="Connettore 2 20"/>
                  <p:cNvCxnSpPr/>
                  <p:nvPr/>
                </p:nvCxnSpPr>
                <p:spPr bwMode="auto">
                  <a:xfrm>
                    <a:off x="3080792" y="1628800"/>
                    <a:ext cx="1549037" cy="0"/>
                  </a:xfrm>
                  <a:prstGeom prst="straightConnector1">
                    <a:avLst/>
                  </a:prstGeom>
                  <a:solidFill>
                    <a:schemeClr val="accent1"/>
                  </a:solidFill>
                  <a:ln w="9525" cap="flat" cmpd="sng" algn="ctr">
                    <a:solidFill>
                      <a:schemeClr val="accent1"/>
                    </a:solidFill>
                    <a:prstDash val="sysDash"/>
                    <a:round/>
                    <a:headEnd type="none" w="med" len="med"/>
                    <a:tailEnd type="arrow"/>
                  </a:ln>
                  <a:effectLst/>
                </p:spPr>
              </p:cxnSp>
              <p:cxnSp>
                <p:nvCxnSpPr>
                  <p:cNvPr id="23" name="Connettore 2 22"/>
                  <p:cNvCxnSpPr/>
                  <p:nvPr/>
                </p:nvCxnSpPr>
                <p:spPr bwMode="auto">
                  <a:xfrm>
                    <a:off x="3081382" y="4021459"/>
                    <a:ext cx="3900888" cy="0"/>
                  </a:xfrm>
                  <a:prstGeom prst="straightConnector1">
                    <a:avLst/>
                  </a:prstGeom>
                  <a:solidFill>
                    <a:schemeClr val="accent1"/>
                  </a:solidFill>
                  <a:ln w="9525" cap="flat" cmpd="sng" algn="ctr">
                    <a:solidFill>
                      <a:schemeClr val="accent1"/>
                    </a:solidFill>
                    <a:prstDash val="sysDash"/>
                    <a:round/>
                    <a:headEnd type="none" w="med" len="med"/>
                    <a:tailEnd type="arrow"/>
                  </a:ln>
                  <a:effectLst/>
                </p:spPr>
              </p:cxnSp>
              <p:cxnSp>
                <p:nvCxnSpPr>
                  <p:cNvPr id="24" name="Connettore 2 23"/>
                  <p:cNvCxnSpPr>
                    <a:stCxn id="13" idx="3"/>
                    <a:endCxn id="44" idx="2"/>
                  </p:cNvCxnSpPr>
                  <p:nvPr/>
                </p:nvCxnSpPr>
                <p:spPr bwMode="auto">
                  <a:xfrm flipV="1">
                    <a:off x="3094917" y="3072923"/>
                    <a:ext cx="3901477" cy="11486"/>
                  </a:xfrm>
                  <a:prstGeom prst="straightConnector1">
                    <a:avLst/>
                  </a:prstGeom>
                  <a:solidFill>
                    <a:schemeClr val="accent1"/>
                  </a:solidFill>
                  <a:ln w="9525" cap="flat" cmpd="sng" algn="ctr">
                    <a:solidFill>
                      <a:schemeClr val="accent1"/>
                    </a:solidFill>
                    <a:prstDash val="sysDash"/>
                    <a:round/>
                    <a:headEnd type="none" w="med" len="med"/>
                    <a:tailEnd type="arrow"/>
                  </a:ln>
                  <a:effectLst/>
                </p:spPr>
              </p:cxnSp>
              <p:cxnSp>
                <p:nvCxnSpPr>
                  <p:cNvPr id="25" name="Connettore 2 24"/>
                  <p:cNvCxnSpPr/>
                  <p:nvPr/>
                </p:nvCxnSpPr>
                <p:spPr bwMode="auto">
                  <a:xfrm>
                    <a:off x="3120129" y="2379933"/>
                    <a:ext cx="1509700" cy="0"/>
                  </a:xfrm>
                  <a:prstGeom prst="straightConnector1">
                    <a:avLst/>
                  </a:prstGeom>
                  <a:solidFill>
                    <a:schemeClr val="accent1"/>
                  </a:solidFill>
                  <a:ln w="9525" cap="flat" cmpd="sng" algn="ctr">
                    <a:solidFill>
                      <a:schemeClr val="accent1"/>
                    </a:solidFill>
                    <a:prstDash val="sysDash"/>
                    <a:round/>
                    <a:headEnd type="none" w="med" len="med"/>
                    <a:tailEnd type="arrow"/>
                  </a:ln>
                  <a:effectLst/>
                </p:spPr>
              </p:cxnSp>
            </p:grpSp>
            <p:sp>
              <p:nvSpPr>
                <p:cNvPr id="44" name="Ovale 43"/>
                <p:cNvSpPr/>
                <p:nvPr/>
              </p:nvSpPr>
              <p:spPr bwMode="auto">
                <a:xfrm>
                  <a:off x="6318504" y="3226774"/>
                  <a:ext cx="252028" cy="216024"/>
                </a:xfrm>
                <a:prstGeom prst="ellipse">
                  <a:avLst/>
                </a:prstGeom>
                <a:solidFill>
                  <a:srgbClr val="FFC000"/>
                </a:solidFill>
                <a:ln w="9525" cap="flat" cmpd="sng" algn="ctr">
                  <a:solidFill>
                    <a:srgbClr val="FFC000"/>
                  </a:solidFill>
                  <a:prstDash val="solid"/>
                  <a:round/>
                  <a:headEnd type="none" w="med" len="med"/>
                  <a:tailEnd type="none" w="med" len="med"/>
                </a:ln>
                <a:effectLst/>
              </p:spPr>
              <p:txBody>
                <a:bodyPr vert="horz"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endParaRPr lang="it-IT" sz="2031">
                    <a:solidFill>
                      <a:schemeClr val="bg1"/>
                    </a:solidFill>
                    <a:latin typeface="Arial" charset="0"/>
                  </a:endParaRPr>
                </a:p>
              </p:txBody>
            </p:sp>
          </p:grpSp>
          <p:grpSp>
            <p:nvGrpSpPr>
              <p:cNvPr id="2" name="Gruppo 1"/>
              <p:cNvGrpSpPr/>
              <p:nvPr/>
            </p:nvGrpSpPr>
            <p:grpSpPr>
              <a:xfrm>
                <a:off x="3807608" y="2012557"/>
                <a:ext cx="2259943" cy="2911994"/>
                <a:chOff x="3807608" y="2012557"/>
                <a:chExt cx="2259943" cy="2911994"/>
              </a:xfrm>
            </p:grpSpPr>
            <p:sp>
              <p:nvSpPr>
                <p:cNvPr id="34825" name="Ovale 34824"/>
                <p:cNvSpPr/>
                <p:nvPr/>
              </p:nvSpPr>
              <p:spPr bwMode="auto">
                <a:xfrm>
                  <a:off x="3807608" y="2012557"/>
                  <a:ext cx="232641" cy="199407"/>
                </a:xfrm>
                <a:prstGeom prst="ellipse">
                  <a:avLst/>
                </a:prstGeom>
                <a:solidFill>
                  <a:srgbClr val="FFC000"/>
                </a:solidFill>
                <a:ln w="9525" cap="flat" cmpd="sng" algn="ctr">
                  <a:solidFill>
                    <a:srgbClr val="FFC000"/>
                  </a:solidFill>
                  <a:prstDash val="solid"/>
                  <a:round/>
                  <a:headEnd type="none" w="med" len="med"/>
                  <a:tailEnd type="none" w="med" len="med"/>
                </a:ln>
                <a:effectLst/>
              </p:spPr>
              <p:txBody>
                <a:bodyPr vert="horz"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r>
                    <a:rPr lang="it-IT" sz="2031" dirty="0">
                      <a:solidFill>
                        <a:schemeClr val="bg1"/>
                      </a:solidFill>
                      <a:latin typeface="Arial" charset="0"/>
                    </a:rPr>
                    <a:t> </a:t>
                  </a:r>
                </a:p>
              </p:txBody>
            </p:sp>
            <p:sp>
              <p:nvSpPr>
                <p:cNvPr id="43" name="Ovale 42"/>
                <p:cNvSpPr/>
                <p:nvPr/>
              </p:nvSpPr>
              <p:spPr bwMode="auto">
                <a:xfrm>
                  <a:off x="3840842" y="2675642"/>
                  <a:ext cx="232641" cy="199407"/>
                </a:xfrm>
                <a:prstGeom prst="ellipse">
                  <a:avLst/>
                </a:prstGeom>
                <a:solidFill>
                  <a:srgbClr val="FFC000"/>
                </a:solidFill>
                <a:ln w="9525" cap="flat" cmpd="sng" algn="ctr">
                  <a:solidFill>
                    <a:srgbClr val="FFC000"/>
                  </a:solidFill>
                  <a:prstDash val="solid"/>
                  <a:round/>
                  <a:headEnd type="none" w="med" len="med"/>
                  <a:tailEnd type="none" w="med" len="med"/>
                </a:ln>
                <a:effectLst/>
              </p:spPr>
              <p:txBody>
                <a:bodyPr vert="horz"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endParaRPr lang="it-IT" sz="2031">
                    <a:solidFill>
                      <a:schemeClr val="bg1"/>
                    </a:solidFill>
                    <a:latin typeface="Arial" charset="0"/>
                  </a:endParaRPr>
                </a:p>
              </p:txBody>
            </p:sp>
            <p:sp>
              <p:nvSpPr>
                <p:cNvPr id="45" name="Ovale 44"/>
                <p:cNvSpPr/>
                <p:nvPr/>
              </p:nvSpPr>
              <p:spPr bwMode="auto">
                <a:xfrm>
                  <a:off x="5820117" y="4050076"/>
                  <a:ext cx="232641" cy="199407"/>
                </a:xfrm>
                <a:prstGeom prst="ellipse">
                  <a:avLst/>
                </a:prstGeom>
                <a:solidFill>
                  <a:srgbClr val="FFC000"/>
                </a:solidFill>
                <a:ln w="9525" cap="flat" cmpd="sng" algn="ctr">
                  <a:solidFill>
                    <a:srgbClr val="FFC000"/>
                  </a:solidFill>
                  <a:prstDash val="solid"/>
                  <a:round/>
                  <a:headEnd type="none" w="med" len="med"/>
                  <a:tailEnd type="none" w="med" len="med"/>
                </a:ln>
                <a:effectLst/>
              </p:spPr>
              <p:txBody>
                <a:bodyPr vert="horz"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endParaRPr lang="it-IT" sz="2031">
                    <a:solidFill>
                      <a:schemeClr val="bg1"/>
                    </a:solidFill>
                    <a:latin typeface="Arial" charset="0"/>
                  </a:endParaRPr>
                </a:p>
              </p:txBody>
            </p:sp>
            <p:sp>
              <p:nvSpPr>
                <p:cNvPr id="46" name="Ovale 45"/>
                <p:cNvSpPr/>
                <p:nvPr/>
              </p:nvSpPr>
              <p:spPr bwMode="auto">
                <a:xfrm>
                  <a:off x="5834910" y="4725144"/>
                  <a:ext cx="232641" cy="199407"/>
                </a:xfrm>
                <a:prstGeom prst="ellipse">
                  <a:avLst/>
                </a:prstGeom>
                <a:solidFill>
                  <a:srgbClr val="FFC000"/>
                </a:solidFill>
                <a:ln w="9525" cap="flat" cmpd="sng" algn="ctr">
                  <a:solidFill>
                    <a:srgbClr val="FFC000"/>
                  </a:solidFill>
                  <a:prstDash val="solid"/>
                  <a:round/>
                  <a:headEnd type="none" w="med" len="med"/>
                  <a:tailEnd type="none" w="med" len="med"/>
                </a:ln>
                <a:effectLst/>
              </p:spPr>
              <p:txBody>
                <a:bodyPr vert="horz"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endParaRPr lang="it-IT" sz="2031">
                    <a:solidFill>
                      <a:schemeClr val="bg1"/>
                    </a:solidFill>
                    <a:latin typeface="Arial" charset="0"/>
                  </a:endParaRPr>
                </a:p>
              </p:txBody>
            </p:sp>
          </p:grpSp>
        </p:grpSp>
      </p:grpSp>
      <p:sp>
        <p:nvSpPr>
          <p:cNvPr id="34834" name="Rettangolo 34833"/>
          <p:cNvSpPr/>
          <p:nvPr/>
        </p:nvSpPr>
        <p:spPr bwMode="auto">
          <a:xfrm>
            <a:off x="185051" y="1780014"/>
            <a:ext cx="332345" cy="1781924"/>
          </a:xfrm>
          <a:prstGeom prst="rect">
            <a:avLst/>
          </a:prstGeom>
          <a:solidFill>
            <a:srgbClr val="FFC000"/>
          </a:solidFill>
          <a:ln w="9525" cap="flat" cmpd="sng" algn="ctr">
            <a:solidFill>
              <a:srgbClr val="FFCC29"/>
            </a:solidFill>
            <a:prstDash val="solid"/>
            <a:round/>
            <a:headEnd type="none" w="med" len="med"/>
            <a:tailEnd type="none" w="med" len="med"/>
          </a:ln>
          <a:effectLst/>
        </p:spPr>
        <p:txBody>
          <a:bodyPr vert="vert270"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r>
              <a:rPr lang="it-IT" sz="1108" dirty="0">
                <a:solidFill>
                  <a:srgbClr val="FF0000"/>
                </a:solidFill>
                <a:latin typeface="Neo Sans Std Medium"/>
              </a:rPr>
              <a:t>Obiettivo generale 1</a:t>
            </a:r>
          </a:p>
        </p:txBody>
      </p:sp>
      <p:sp>
        <p:nvSpPr>
          <p:cNvPr id="56" name="Rettangolo 55"/>
          <p:cNvSpPr/>
          <p:nvPr/>
        </p:nvSpPr>
        <p:spPr bwMode="auto">
          <a:xfrm>
            <a:off x="185051" y="3694876"/>
            <a:ext cx="332345" cy="1395847"/>
          </a:xfrm>
          <a:prstGeom prst="rect">
            <a:avLst/>
          </a:prstGeom>
          <a:solidFill>
            <a:srgbClr val="FFC000"/>
          </a:solidFill>
          <a:ln w="9525" cap="flat" cmpd="sng" algn="ctr">
            <a:solidFill>
              <a:srgbClr val="FFCC29"/>
            </a:solidFill>
            <a:prstDash val="solid"/>
            <a:round/>
            <a:headEnd type="none" w="med" len="med"/>
            <a:tailEnd type="none" w="med" len="med"/>
          </a:ln>
          <a:effectLst/>
        </p:spPr>
        <p:txBody>
          <a:bodyPr vert="vert270"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r>
              <a:rPr lang="it-IT" sz="1108" dirty="0">
                <a:solidFill>
                  <a:srgbClr val="FF0000"/>
                </a:solidFill>
                <a:latin typeface="Neo Sans Std Medium"/>
              </a:rPr>
              <a:t>Obiettivo generale 2</a:t>
            </a:r>
          </a:p>
        </p:txBody>
      </p:sp>
      <p:sp>
        <p:nvSpPr>
          <p:cNvPr id="57" name="Rettangolo 56"/>
          <p:cNvSpPr/>
          <p:nvPr/>
        </p:nvSpPr>
        <p:spPr bwMode="auto">
          <a:xfrm>
            <a:off x="185051" y="5157192"/>
            <a:ext cx="332345" cy="997034"/>
          </a:xfrm>
          <a:prstGeom prst="rect">
            <a:avLst/>
          </a:prstGeom>
          <a:solidFill>
            <a:srgbClr val="FFC000"/>
          </a:solidFill>
          <a:ln w="9525" cap="flat" cmpd="sng" algn="ctr">
            <a:solidFill>
              <a:srgbClr val="FFCC29"/>
            </a:solidFill>
            <a:prstDash val="solid"/>
            <a:round/>
            <a:headEnd type="none" w="med" len="med"/>
            <a:tailEnd type="none" w="med" len="med"/>
          </a:ln>
          <a:effectLst/>
        </p:spPr>
        <p:txBody>
          <a:bodyPr vert="vert270"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r>
              <a:rPr lang="it-IT" sz="1108" dirty="0">
                <a:solidFill>
                  <a:srgbClr val="FF0000"/>
                </a:solidFill>
                <a:latin typeface="Neo Sans Std Medium"/>
              </a:rPr>
              <a:t>Obiettivo generale 3</a:t>
            </a:r>
          </a:p>
        </p:txBody>
      </p:sp>
      <p:sp>
        <p:nvSpPr>
          <p:cNvPr id="28" name="Rettangolo 27"/>
          <p:cNvSpPr/>
          <p:nvPr/>
        </p:nvSpPr>
        <p:spPr>
          <a:xfrm>
            <a:off x="0" y="579196"/>
            <a:ext cx="9036496" cy="646331"/>
          </a:xfrm>
          <a:prstGeom prst="rect">
            <a:avLst/>
          </a:prstGeom>
        </p:spPr>
        <p:txBody>
          <a:bodyPr wrap="square">
            <a:spAutoFit/>
          </a:bodyPr>
          <a:lstStyle/>
          <a:p>
            <a:r>
              <a:rPr lang="it-IT" b="1" dirty="0">
                <a:solidFill>
                  <a:schemeClr val="accent1">
                    <a:lumMod val="75000"/>
                  </a:schemeClr>
                </a:solidFill>
              </a:rPr>
              <a:t>A che punto è la definizione della RIS 3 </a:t>
            </a:r>
            <a:r>
              <a:rPr lang="it-IT" b="1" dirty="0" smtClean="0">
                <a:solidFill>
                  <a:schemeClr val="accent1">
                    <a:lumMod val="75000"/>
                  </a:schemeClr>
                </a:solidFill>
              </a:rPr>
              <a:t>Sicilia</a:t>
            </a:r>
            <a:r>
              <a:rPr lang="it-IT" b="1" dirty="0">
                <a:solidFill>
                  <a:schemeClr val="accent1">
                    <a:lumMod val="75000"/>
                  </a:schemeClr>
                </a:solidFill>
              </a:rPr>
              <a:t> </a:t>
            </a:r>
            <a:r>
              <a:rPr lang="it-IT" b="1" dirty="0" smtClean="0">
                <a:solidFill>
                  <a:schemeClr val="accent1">
                    <a:lumMod val="75000"/>
                  </a:schemeClr>
                </a:solidFill>
              </a:rPr>
              <a:t>(3)  </a:t>
            </a:r>
            <a:r>
              <a:rPr lang="it-IT" dirty="0"/>
              <a:t/>
            </a:r>
            <a:br>
              <a:rPr lang="it-IT" dirty="0"/>
            </a:br>
            <a:endParaRPr lang="it-IT" dirty="0"/>
          </a:p>
        </p:txBody>
      </p:sp>
    </p:spTree>
    <p:extLst>
      <p:ext uri="{BB962C8B-B14F-4D97-AF65-F5344CB8AC3E}">
        <p14:creationId xmlns:p14="http://schemas.microsoft.com/office/powerpoint/2010/main" val="4230014271"/>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o 4"/>
          <p:cNvGrpSpPr>
            <a:grpSpLocks/>
          </p:cNvGrpSpPr>
          <p:nvPr/>
        </p:nvGrpSpPr>
        <p:grpSpPr bwMode="auto">
          <a:xfrm>
            <a:off x="-5248" y="214968"/>
            <a:ext cx="9144000" cy="586409"/>
            <a:chOff x="45253" y="-36513"/>
            <a:chExt cx="9143999" cy="877993"/>
          </a:xfrm>
        </p:grpSpPr>
        <p:pic>
          <p:nvPicPr>
            <p:cNvPr id="4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l="4688" t="21562" r="5663" b="66251"/>
            <a:stretch>
              <a:fillRect/>
            </a:stretch>
          </p:blipFill>
          <p:spPr bwMode="auto">
            <a:xfrm>
              <a:off x="45253" y="-16351"/>
              <a:ext cx="9143999" cy="85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5" descr="jaun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3731" y="0"/>
              <a:ext cx="800100"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7" descr="stellon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07704" y="-36513"/>
              <a:ext cx="5334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2" descr="Logo_POFes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27784" y="0"/>
              <a:ext cx="827088"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1" name="Rettangolo 50"/>
          <p:cNvSpPr/>
          <p:nvPr/>
        </p:nvSpPr>
        <p:spPr>
          <a:xfrm>
            <a:off x="2200938" y="1258205"/>
            <a:ext cx="5171154" cy="433196"/>
          </a:xfrm>
          <a:prstGeom prst="rect">
            <a:avLst/>
          </a:prstGeom>
        </p:spPr>
        <p:txBody>
          <a:bodyPr wrap="square">
            <a:spAutoFit/>
          </a:bodyPr>
          <a:lstStyle/>
          <a:p>
            <a:pPr algn="ctr"/>
            <a:r>
              <a:rPr lang="it-IT" sz="2215" b="1" dirty="0">
                <a:solidFill>
                  <a:schemeClr val="accent2"/>
                </a:solidFill>
                <a:effectLst>
                  <a:outerShdw blurRad="38100" dist="38100" dir="2700000" algn="tl">
                    <a:srgbClr val="C0C0C0"/>
                  </a:outerShdw>
                </a:effectLst>
                <a:latin typeface="Neo Sans Std Medium" pitchFamily="34" charset="0"/>
              </a:rPr>
              <a:t>Gli Strumenti del  Policy Mix ...</a:t>
            </a:r>
          </a:p>
        </p:txBody>
      </p:sp>
      <p:graphicFrame>
        <p:nvGraphicFramePr>
          <p:cNvPr id="109" name="Diagramma 108"/>
          <p:cNvGraphicFramePr/>
          <p:nvPr>
            <p:extLst/>
          </p:nvPr>
        </p:nvGraphicFramePr>
        <p:xfrm>
          <a:off x="71535" y="2661926"/>
          <a:ext cx="2319068" cy="7670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114" name="Gruppo 113"/>
          <p:cNvGrpSpPr/>
          <p:nvPr/>
        </p:nvGrpSpPr>
        <p:grpSpPr>
          <a:xfrm>
            <a:off x="4211960" y="1691401"/>
            <a:ext cx="801225" cy="801225"/>
            <a:chOff x="5313040" y="1959577"/>
            <a:chExt cx="867994" cy="867994"/>
          </a:xfrm>
        </p:grpSpPr>
        <p:sp>
          <p:nvSpPr>
            <p:cNvPr id="112" name="Oval 45"/>
            <p:cNvSpPr/>
            <p:nvPr/>
          </p:nvSpPr>
          <p:spPr>
            <a:xfrm>
              <a:off x="5313040" y="1959577"/>
              <a:ext cx="867994" cy="867994"/>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662"/>
            </a:p>
          </p:txBody>
        </p:sp>
        <p:sp>
          <p:nvSpPr>
            <p:cNvPr id="110" name="Freeform 10"/>
            <p:cNvSpPr>
              <a:spLocks noEditPoints="1"/>
            </p:cNvSpPr>
            <p:nvPr/>
          </p:nvSpPr>
          <p:spPr bwMode="auto">
            <a:xfrm>
              <a:off x="5547674" y="2195293"/>
              <a:ext cx="398726" cy="396562"/>
            </a:xfrm>
            <a:custGeom>
              <a:avLst/>
              <a:gdLst/>
              <a:ahLst/>
              <a:cxnLst>
                <a:cxn ang="0">
                  <a:pos x="24" y="31"/>
                </a:cxn>
                <a:cxn ang="0">
                  <a:pos x="4" y="11"/>
                </a:cxn>
                <a:cxn ang="0">
                  <a:pos x="4" y="8"/>
                </a:cxn>
                <a:cxn ang="0">
                  <a:pos x="6" y="8"/>
                </a:cxn>
                <a:cxn ang="0">
                  <a:pos x="26" y="28"/>
                </a:cxn>
                <a:cxn ang="0">
                  <a:pos x="28" y="27"/>
                </a:cxn>
                <a:cxn ang="0">
                  <a:pos x="8" y="7"/>
                </a:cxn>
                <a:cxn ang="0">
                  <a:pos x="8" y="4"/>
                </a:cxn>
                <a:cxn ang="0">
                  <a:pos x="10" y="4"/>
                </a:cxn>
                <a:cxn ang="0">
                  <a:pos x="31" y="24"/>
                </a:cxn>
                <a:cxn ang="0">
                  <a:pos x="33" y="22"/>
                </a:cxn>
                <a:cxn ang="0">
                  <a:pos x="14" y="3"/>
                </a:cxn>
                <a:cxn ang="0">
                  <a:pos x="4" y="4"/>
                </a:cxn>
                <a:cxn ang="0">
                  <a:pos x="3" y="13"/>
                </a:cxn>
                <a:cxn ang="0">
                  <a:pos x="22" y="33"/>
                </a:cxn>
                <a:cxn ang="0">
                  <a:pos x="24" y="31"/>
                </a:cxn>
                <a:cxn ang="0">
                  <a:pos x="71" y="67"/>
                </a:cxn>
                <a:cxn ang="0">
                  <a:pos x="65" y="59"/>
                </a:cxn>
                <a:cxn ang="0">
                  <a:pos x="63" y="59"/>
                </a:cxn>
                <a:cxn ang="0">
                  <a:pos x="63" y="59"/>
                </a:cxn>
                <a:cxn ang="0">
                  <a:pos x="46" y="42"/>
                </a:cxn>
                <a:cxn ang="0">
                  <a:pos x="42" y="46"/>
                </a:cxn>
                <a:cxn ang="0">
                  <a:pos x="59" y="63"/>
                </a:cxn>
                <a:cxn ang="0">
                  <a:pos x="60" y="63"/>
                </a:cxn>
                <a:cxn ang="0">
                  <a:pos x="59" y="65"/>
                </a:cxn>
                <a:cxn ang="0">
                  <a:pos x="67" y="70"/>
                </a:cxn>
                <a:cxn ang="0">
                  <a:pos x="69" y="69"/>
                </a:cxn>
                <a:cxn ang="0">
                  <a:pos x="71" y="67"/>
                </a:cxn>
                <a:cxn ang="0">
                  <a:pos x="51" y="34"/>
                </a:cxn>
                <a:cxn ang="0">
                  <a:pos x="64" y="30"/>
                </a:cxn>
                <a:cxn ang="0">
                  <a:pos x="66" y="11"/>
                </a:cxn>
                <a:cxn ang="0">
                  <a:pos x="55" y="22"/>
                </a:cxn>
                <a:cxn ang="0">
                  <a:pos x="50" y="17"/>
                </a:cxn>
                <a:cxn ang="0">
                  <a:pos x="61" y="6"/>
                </a:cxn>
                <a:cxn ang="0">
                  <a:pos x="42" y="8"/>
                </a:cxn>
                <a:cxn ang="0">
                  <a:pos x="38" y="21"/>
                </a:cxn>
                <a:cxn ang="0">
                  <a:pos x="36" y="22"/>
                </a:cxn>
                <a:cxn ang="0">
                  <a:pos x="6" y="52"/>
                </a:cxn>
                <a:cxn ang="0">
                  <a:pos x="6" y="65"/>
                </a:cxn>
                <a:cxn ang="0">
                  <a:pos x="20" y="65"/>
                </a:cxn>
                <a:cxn ang="0">
                  <a:pos x="49" y="36"/>
                </a:cxn>
                <a:cxn ang="0">
                  <a:pos x="51" y="34"/>
                </a:cxn>
                <a:cxn ang="0">
                  <a:pos x="16" y="60"/>
                </a:cxn>
                <a:cxn ang="0">
                  <a:pos x="12" y="60"/>
                </a:cxn>
                <a:cxn ang="0">
                  <a:pos x="12" y="55"/>
                </a:cxn>
                <a:cxn ang="0">
                  <a:pos x="16" y="55"/>
                </a:cxn>
                <a:cxn ang="0">
                  <a:pos x="16" y="60"/>
                </a:cxn>
              </a:cxnLst>
              <a:rect l="0" t="0" r="r" b="b"/>
              <a:pathLst>
                <a:path w="71" h="71">
                  <a:moveTo>
                    <a:pt x="24" y="31"/>
                  </a:moveTo>
                  <a:cubicBezTo>
                    <a:pt x="4" y="11"/>
                    <a:pt x="4" y="11"/>
                    <a:pt x="4" y="11"/>
                  </a:cubicBezTo>
                  <a:cubicBezTo>
                    <a:pt x="3" y="10"/>
                    <a:pt x="3" y="9"/>
                    <a:pt x="4" y="8"/>
                  </a:cubicBezTo>
                  <a:cubicBezTo>
                    <a:pt x="4" y="7"/>
                    <a:pt x="6" y="7"/>
                    <a:pt x="6" y="8"/>
                  </a:cubicBezTo>
                  <a:cubicBezTo>
                    <a:pt x="26" y="28"/>
                    <a:pt x="26" y="28"/>
                    <a:pt x="26" y="28"/>
                  </a:cubicBezTo>
                  <a:cubicBezTo>
                    <a:pt x="28" y="27"/>
                    <a:pt x="28" y="27"/>
                    <a:pt x="28" y="27"/>
                  </a:cubicBezTo>
                  <a:cubicBezTo>
                    <a:pt x="8" y="7"/>
                    <a:pt x="8" y="7"/>
                    <a:pt x="8" y="7"/>
                  </a:cubicBezTo>
                  <a:cubicBezTo>
                    <a:pt x="7" y="6"/>
                    <a:pt x="7" y="5"/>
                    <a:pt x="8" y="4"/>
                  </a:cubicBezTo>
                  <a:cubicBezTo>
                    <a:pt x="9" y="3"/>
                    <a:pt x="10" y="3"/>
                    <a:pt x="10" y="4"/>
                  </a:cubicBezTo>
                  <a:cubicBezTo>
                    <a:pt x="31" y="24"/>
                    <a:pt x="31" y="24"/>
                    <a:pt x="31" y="24"/>
                  </a:cubicBezTo>
                  <a:cubicBezTo>
                    <a:pt x="33" y="22"/>
                    <a:pt x="33" y="22"/>
                    <a:pt x="33" y="22"/>
                  </a:cubicBezTo>
                  <a:cubicBezTo>
                    <a:pt x="14" y="3"/>
                    <a:pt x="14" y="3"/>
                    <a:pt x="14" y="3"/>
                  </a:cubicBezTo>
                  <a:cubicBezTo>
                    <a:pt x="11" y="0"/>
                    <a:pt x="7" y="1"/>
                    <a:pt x="4" y="4"/>
                  </a:cubicBezTo>
                  <a:cubicBezTo>
                    <a:pt x="1" y="7"/>
                    <a:pt x="0" y="11"/>
                    <a:pt x="3" y="13"/>
                  </a:cubicBezTo>
                  <a:cubicBezTo>
                    <a:pt x="22" y="33"/>
                    <a:pt x="22" y="33"/>
                    <a:pt x="22" y="33"/>
                  </a:cubicBezTo>
                  <a:lnTo>
                    <a:pt x="24" y="31"/>
                  </a:lnTo>
                  <a:close/>
                  <a:moveTo>
                    <a:pt x="71" y="67"/>
                  </a:moveTo>
                  <a:cubicBezTo>
                    <a:pt x="65" y="59"/>
                    <a:pt x="65" y="59"/>
                    <a:pt x="65" y="59"/>
                  </a:cubicBezTo>
                  <a:cubicBezTo>
                    <a:pt x="65" y="58"/>
                    <a:pt x="64" y="59"/>
                    <a:pt x="63" y="59"/>
                  </a:cubicBezTo>
                  <a:cubicBezTo>
                    <a:pt x="63" y="59"/>
                    <a:pt x="63" y="59"/>
                    <a:pt x="63" y="59"/>
                  </a:cubicBezTo>
                  <a:cubicBezTo>
                    <a:pt x="46" y="42"/>
                    <a:pt x="46" y="42"/>
                    <a:pt x="46" y="42"/>
                  </a:cubicBezTo>
                  <a:cubicBezTo>
                    <a:pt x="42" y="46"/>
                    <a:pt x="42" y="46"/>
                    <a:pt x="42" y="46"/>
                  </a:cubicBezTo>
                  <a:cubicBezTo>
                    <a:pt x="59" y="63"/>
                    <a:pt x="59" y="63"/>
                    <a:pt x="59" y="63"/>
                  </a:cubicBezTo>
                  <a:cubicBezTo>
                    <a:pt x="59" y="63"/>
                    <a:pt x="59" y="63"/>
                    <a:pt x="60" y="63"/>
                  </a:cubicBezTo>
                  <a:cubicBezTo>
                    <a:pt x="59" y="64"/>
                    <a:pt x="59" y="65"/>
                    <a:pt x="59" y="65"/>
                  </a:cubicBezTo>
                  <a:cubicBezTo>
                    <a:pt x="67" y="70"/>
                    <a:pt x="67" y="70"/>
                    <a:pt x="67" y="70"/>
                  </a:cubicBezTo>
                  <a:cubicBezTo>
                    <a:pt x="68" y="71"/>
                    <a:pt x="69" y="70"/>
                    <a:pt x="69" y="69"/>
                  </a:cubicBezTo>
                  <a:cubicBezTo>
                    <a:pt x="70" y="68"/>
                    <a:pt x="71" y="67"/>
                    <a:pt x="71" y="67"/>
                  </a:cubicBezTo>
                  <a:close/>
                  <a:moveTo>
                    <a:pt x="51" y="34"/>
                  </a:moveTo>
                  <a:cubicBezTo>
                    <a:pt x="55" y="35"/>
                    <a:pt x="60" y="33"/>
                    <a:pt x="64" y="30"/>
                  </a:cubicBezTo>
                  <a:cubicBezTo>
                    <a:pt x="69" y="25"/>
                    <a:pt x="70" y="17"/>
                    <a:pt x="66" y="11"/>
                  </a:cubicBezTo>
                  <a:cubicBezTo>
                    <a:pt x="55" y="22"/>
                    <a:pt x="55" y="22"/>
                    <a:pt x="55" y="22"/>
                  </a:cubicBezTo>
                  <a:cubicBezTo>
                    <a:pt x="50" y="17"/>
                    <a:pt x="50" y="17"/>
                    <a:pt x="50" y="17"/>
                  </a:cubicBezTo>
                  <a:cubicBezTo>
                    <a:pt x="61" y="6"/>
                    <a:pt x="61" y="6"/>
                    <a:pt x="61" y="6"/>
                  </a:cubicBezTo>
                  <a:cubicBezTo>
                    <a:pt x="55" y="2"/>
                    <a:pt x="47" y="3"/>
                    <a:pt x="42" y="8"/>
                  </a:cubicBezTo>
                  <a:cubicBezTo>
                    <a:pt x="39" y="11"/>
                    <a:pt x="37" y="16"/>
                    <a:pt x="38" y="21"/>
                  </a:cubicBezTo>
                  <a:cubicBezTo>
                    <a:pt x="37" y="21"/>
                    <a:pt x="36" y="22"/>
                    <a:pt x="36" y="22"/>
                  </a:cubicBezTo>
                  <a:cubicBezTo>
                    <a:pt x="6" y="52"/>
                    <a:pt x="6" y="52"/>
                    <a:pt x="6" y="52"/>
                  </a:cubicBezTo>
                  <a:cubicBezTo>
                    <a:pt x="3" y="55"/>
                    <a:pt x="3" y="62"/>
                    <a:pt x="6" y="65"/>
                  </a:cubicBezTo>
                  <a:cubicBezTo>
                    <a:pt x="10" y="69"/>
                    <a:pt x="16" y="69"/>
                    <a:pt x="20" y="65"/>
                  </a:cubicBezTo>
                  <a:cubicBezTo>
                    <a:pt x="49" y="36"/>
                    <a:pt x="49" y="36"/>
                    <a:pt x="49" y="36"/>
                  </a:cubicBezTo>
                  <a:cubicBezTo>
                    <a:pt x="50" y="35"/>
                    <a:pt x="51" y="35"/>
                    <a:pt x="51" y="34"/>
                  </a:cubicBezTo>
                  <a:close/>
                  <a:moveTo>
                    <a:pt x="16" y="60"/>
                  </a:moveTo>
                  <a:cubicBezTo>
                    <a:pt x="15" y="61"/>
                    <a:pt x="13" y="61"/>
                    <a:pt x="12" y="60"/>
                  </a:cubicBezTo>
                  <a:cubicBezTo>
                    <a:pt x="11" y="59"/>
                    <a:pt x="11" y="57"/>
                    <a:pt x="12" y="55"/>
                  </a:cubicBezTo>
                  <a:cubicBezTo>
                    <a:pt x="13" y="54"/>
                    <a:pt x="15" y="54"/>
                    <a:pt x="16" y="55"/>
                  </a:cubicBezTo>
                  <a:cubicBezTo>
                    <a:pt x="18" y="57"/>
                    <a:pt x="18" y="59"/>
                    <a:pt x="16" y="60"/>
                  </a:cubicBezTo>
                  <a:close/>
                </a:path>
              </a:pathLst>
            </a:custGeom>
            <a:solidFill>
              <a:schemeClr val="bg1"/>
            </a:solidFill>
            <a:ln w="9525">
              <a:noFill/>
              <a:round/>
              <a:headEnd/>
              <a:tailEnd/>
            </a:ln>
            <a:effectLst/>
          </p:spPr>
          <p:txBody>
            <a:bodyPr vert="horz" wrap="square" lIns="84406" tIns="42203" rIns="84406" bIns="42203" numCol="1" anchor="t" anchorCtr="0" compatLnSpc="1">
              <a:prstTxWarp prst="textNoShape">
                <a:avLst/>
              </a:prstTxWarp>
            </a:bodyPr>
            <a:lstStyle/>
            <a:p>
              <a:endParaRPr lang="id-ID" sz="1662">
                <a:latin typeface="Calibri" charset="0"/>
                <a:ea typeface="ＭＳ Ｐゴシック" charset="0"/>
                <a:cs typeface="ＭＳ Ｐゴシック" charset="0"/>
              </a:endParaRPr>
            </a:p>
          </p:txBody>
        </p:sp>
      </p:grpSp>
      <p:graphicFrame>
        <p:nvGraphicFramePr>
          <p:cNvPr id="115" name="Diagramma 114"/>
          <p:cNvGraphicFramePr/>
          <p:nvPr>
            <p:extLst>
              <p:ext uri="{D42A27DB-BD31-4B8C-83A1-F6EECF244321}">
                <p14:modId xmlns:p14="http://schemas.microsoft.com/office/powerpoint/2010/main" val="2960415694"/>
              </p:ext>
            </p:extLst>
          </p:nvPr>
        </p:nvGraphicFramePr>
        <p:xfrm>
          <a:off x="101101" y="3500733"/>
          <a:ext cx="2324358" cy="65942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16" name="Diagramma 115"/>
          <p:cNvGraphicFramePr/>
          <p:nvPr>
            <p:extLst/>
          </p:nvPr>
        </p:nvGraphicFramePr>
        <p:xfrm>
          <a:off x="3109684" y="2459688"/>
          <a:ext cx="2510195" cy="767074"/>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117" name="Diagramma 116"/>
          <p:cNvGraphicFramePr/>
          <p:nvPr>
            <p:extLst/>
          </p:nvPr>
        </p:nvGraphicFramePr>
        <p:xfrm>
          <a:off x="3109684" y="3113603"/>
          <a:ext cx="2518483" cy="767074"/>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aphicFrame>
        <p:nvGraphicFramePr>
          <p:cNvPr id="118" name="Diagramma 117"/>
          <p:cNvGraphicFramePr/>
          <p:nvPr>
            <p:extLst/>
          </p:nvPr>
        </p:nvGraphicFramePr>
        <p:xfrm>
          <a:off x="6241059" y="1864299"/>
          <a:ext cx="2518483" cy="767074"/>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graphicFrame>
        <p:nvGraphicFramePr>
          <p:cNvPr id="119" name="Diagramma 118"/>
          <p:cNvGraphicFramePr/>
          <p:nvPr>
            <p:extLst/>
          </p:nvPr>
        </p:nvGraphicFramePr>
        <p:xfrm>
          <a:off x="6249347" y="2498436"/>
          <a:ext cx="2510195" cy="767074"/>
        </p:xfrm>
        <a:graphic>
          <a:graphicData uri="http://schemas.openxmlformats.org/drawingml/2006/diagram">
            <dgm:relIds xmlns:dgm="http://schemas.openxmlformats.org/drawingml/2006/diagram" xmlns:r="http://schemas.openxmlformats.org/officeDocument/2006/relationships" r:dm="rId32" r:lo="rId33" r:qs="rId34" r:cs="rId35"/>
          </a:graphicData>
        </a:graphic>
      </p:graphicFrame>
      <p:graphicFrame>
        <p:nvGraphicFramePr>
          <p:cNvPr id="120" name="Diagramma 119"/>
          <p:cNvGraphicFramePr/>
          <p:nvPr>
            <p:extLst>
              <p:ext uri="{D42A27DB-BD31-4B8C-83A1-F6EECF244321}">
                <p14:modId xmlns:p14="http://schemas.microsoft.com/office/powerpoint/2010/main" val="201839667"/>
              </p:ext>
            </p:extLst>
          </p:nvPr>
        </p:nvGraphicFramePr>
        <p:xfrm>
          <a:off x="8182" y="4190712"/>
          <a:ext cx="2702688" cy="767074"/>
        </p:xfrm>
        <a:graphic>
          <a:graphicData uri="http://schemas.openxmlformats.org/drawingml/2006/diagram">
            <dgm:relIds xmlns:dgm="http://schemas.openxmlformats.org/drawingml/2006/diagram" xmlns:r="http://schemas.openxmlformats.org/officeDocument/2006/relationships" r:dm="rId37" r:lo="rId38" r:qs="rId39" r:cs="rId40"/>
          </a:graphicData>
        </a:graphic>
      </p:graphicFrame>
      <p:graphicFrame>
        <p:nvGraphicFramePr>
          <p:cNvPr id="121" name="Diagramma 120"/>
          <p:cNvGraphicFramePr/>
          <p:nvPr>
            <p:extLst>
              <p:ext uri="{D42A27DB-BD31-4B8C-83A1-F6EECF244321}">
                <p14:modId xmlns:p14="http://schemas.microsoft.com/office/powerpoint/2010/main" val="4084386465"/>
              </p:ext>
            </p:extLst>
          </p:nvPr>
        </p:nvGraphicFramePr>
        <p:xfrm>
          <a:off x="6249347" y="3229594"/>
          <a:ext cx="2510195" cy="767074"/>
        </p:xfrm>
        <a:graphic>
          <a:graphicData uri="http://schemas.openxmlformats.org/drawingml/2006/diagram">
            <dgm:relIds xmlns:dgm="http://schemas.openxmlformats.org/drawingml/2006/diagram" xmlns:r="http://schemas.openxmlformats.org/officeDocument/2006/relationships" r:dm="rId42" r:lo="rId43" r:qs="rId44" r:cs="rId45"/>
          </a:graphicData>
        </a:graphic>
      </p:graphicFrame>
      <p:graphicFrame>
        <p:nvGraphicFramePr>
          <p:cNvPr id="122" name="Diagramma 121"/>
          <p:cNvGraphicFramePr/>
          <p:nvPr>
            <p:extLst/>
          </p:nvPr>
        </p:nvGraphicFramePr>
        <p:xfrm>
          <a:off x="3109684" y="3827814"/>
          <a:ext cx="2518483" cy="767074"/>
        </p:xfrm>
        <a:graphic>
          <a:graphicData uri="http://schemas.openxmlformats.org/drawingml/2006/diagram">
            <dgm:relIds xmlns:dgm="http://schemas.openxmlformats.org/drawingml/2006/diagram" xmlns:r="http://schemas.openxmlformats.org/officeDocument/2006/relationships" r:dm="rId47" r:lo="rId48" r:qs="rId49" r:cs="rId50"/>
          </a:graphicData>
        </a:graphic>
      </p:graphicFrame>
      <p:graphicFrame>
        <p:nvGraphicFramePr>
          <p:cNvPr id="123" name="Diagramma 122"/>
          <p:cNvGraphicFramePr/>
          <p:nvPr>
            <p:extLst/>
          </p:nvPr>
        </p:nvGraphicFramePr>
        <p:xfrm>
          <a:off x="3109684" y="4492503"/>
          <a:ext cx="2518483" cy="767074"/>
        </p:xfrm>
        <a:graphic>
          <a:graphicData uri="http://schemas.openxmlformats.org/drawingml/2006/diagram">
            <dgm:relIds xmlns:dgm="http://schemas.openxmlformats.org/drawingml/2006/diagram" xmlns:r="http://schemas.openxmlformats.org/officeDocument/2006/relationships" r:dm="rId52" r:lo="rId53" r:qs="rId54" r:cs="rId55"/>
          </a:graphicData>
        </a:graphic>
      </p:graphicFrame>
      <p:graphicFrame>
        <p:nvGraphicFramePr>
          <p:cNvPr id="124" name="Diagramma 123"/>
          <p:cNvGraphicFramePr/>
          <p:nvPr>
            <p:extLst/>
          </p:nvPr>
        </p:nvGraphicFramePr>
        <p:xfrm>
          <a:off x="6249347" y="4027221"/>
          <a:ext cx="2510195" cy="767074"/>
        </p:xfrm>
        <a:graphic>
          <a:graphicData uri="http://schemas.openxmlformats.org/drawingml/2006/diagram">
            <dgm:relIds xmlns:dgm="http://schemas.openxmlformats.org/drawingml/2006/diagram" xmlns:r="http://schemas.openxmlformats.org/officeDocument/2006/relationships" r:dm="rId57" r:lo="rId58" r:qs="rId59" r:cs="rId60"/>
          </a:graphicData>
        </a:graphic>
      </p:graphicFrame>
      <p:graphicFrame>
        <p:nvGraphicFramePr>
          <p:cNvPr id="125" name="Diagramma 124"/>
          <p:cNvGraphicFramePr/>
          <p:nvPr>
            <p:extLst/>
          </p:nvPr>
        </p:nvGraphicFramePr>
        <p:xfrm>
          <a:off x="67088" y="1997237"/>
          <a:ext cx="2510195" cy="767074"/>
        </p:xfrm>
        <a:graphic>
          <a:graphicData uri="http://schemas.openxmlformats.org/drawingml/2006/diagram">
            <dgm:relIds xmlns:dgm="http://schemas.openxmlformats.org/drawingml/2006/diagram" xmlns:r="http://schemas.openxmlformats.org/officeDocument/2006/relationships" r:dm="rId62" r:lo="rId63" r:qs="rId64" r:cs="rId65"/>
          </a:graphicData>
        </a:graphic>
      </p:graphicFrame>
      <p:graphicFrame>
        <p:nvGraphicFramePr>
          <p:cNvPr id="126" name="Diagramma 125"/>
          <p:cNvGraphicFramePr/>
          <p:nvPr>
            <p:extLst/>
          </p:nvPr>
        </p:nvGraphicFramePr>
        <p:xfrm>
          <a:off x="8182" y="4988339"/>
          <a:ext cx="2510195" cy="767074"/>
        </p:xfrm>
        <a:graphic>
          <a:graphicData uri="http://schemas.openxmlformats.org/drawingml/2006/diagram">
            <dgm:relIds xmlns:dgm="http://schemas.openxmlformats.org/drawingml/2006/diagram" xmlns:r="http://schemas.openxmlformats.org/officeDocument/2006/relationships" r:dm="rId67" r:lo="rId68" r:qs="rId69" r:cs="rId70"/>
          </a:graphicData>
        </a:graphic>
      </p:graphicFrame>
      <p:graphicFrame>
        <p:nvGraphicFramePr>
          <p:cNvPr id="127" name="Diagramma 126"/>
          <p:cNvGraphicFramePr/>
          <p:nvPr>
            <p:extLst/>
          </p:nvPr>
        </p:nvGraphicFramePr>
        <p:xfrm>
          <a:off x="3109684" y="5024255"/>
          <a:ext cx="2510195" cy="767074"/>
        </p:xfrm>
        <a:graphic>
          <a:graphicData uri="http://schemas.openxmlformats.org/drawingml/2006/diagram">
            <dgm:relIds xmlns:dgm="http://schemas.openxmlformats.org/drawingml/2006/diagram" xmlns:r="http://schemas.openxmlformats.org/officeDocument/2006/relationships" r:dm="rId72" r:lo="rId73" r:qs="rId74" r:cs="rId75"/>
          </a:graphicData>
        </a:graphic>
      </p:graphicFrame>
      <p:graphicFrame>
        <p:nvGraphicFramePr>
          <p:cNvPr id="128" name="Diagramma 127"/>
          <p:cNvGraphicFramePr/>
          <p:nvPr>
            <p:extLst/>
          </p:nvPr>
        </p:nvGraphicFramePr>
        <p:xfrm>
          <a:off x="6233723" y="4691910"/>
          <a:ext cx="2592288" cy="767074"/>
        </p:xfrm>
        <a:graphic>
          <a:graphicData uri="http://schemas.openxmlformats.org/drawingml/2006/diagram">
            <dgm:relIds xmlns:dgm="http://schemas.openxmlformats.org/drawingml/2006/diagram" xmlns:r="http://schemas.openxmlformats.org/officeDocument/2006/relationships" r:dm="rId77" r:lo="rId78" r:qs="rId79" r:cs="rId80"/>
          </a:graphicData>
        </a:graphic>
      </p:graphicFrame>
      <p:graphicFrame>
        <p:nvGraphicFramePr>
          <p:cNvPr id="129" name="Diagramma 128"/>
          <p:cNvGraphicFramePr/>
          <p:nvPr>
            <p:extLst/>
          </p:nvPr>
        </p:nvGraphicFramePr>
        <p:xfrm>
          <a:off x="6233723" y="5423068"/>
          <a:ext cx="2592288" cy="767074"/>
        </p:xfrm>
        <a:graphic>
          <a:graphicData uri="http://schemas.openxmlformats.org/drawingml/2006/diagram">
            <dgm:relIds xmlns:dgm="http://schemas.openxmlformats.org/drawingml/2006/diagram" xmlns:r="http://schemas.openxmlformats.org/officeDocument/2006/relationships" r:dm="rId82" r:lo="rId83" r:qs="rId84" r:cs="rId85"/>
          </a:graphicData>
        </a:graphic>
      </p:graphicFrame>
      <p:sp>
        <p:nvSpPr>
          <p:cNvPr id="28" name="Rettangolo 27"/>
          <p:cNvSpPr/>
          <p:nvPr/>
        </p:nvSpPr>
        <p:spPr>
          <a:xfrm>
            <a:off x="0" y="812431"/>
            <a:ext cx="9036496" cy="646331"/>
          </a:xfrm>
          <a:prstGeom prst="rect">
            <a:avLst/>
          </a:prstGeom>
        </p:spPr>
        <p:txBody>
          <a:bodyPr wrap="square">
            <a:spAutoFit/>
          </a:bodyPr>
          <a:lstStyle/>
          <a:p>
            <a:r>
              <a:rPr lang="it-IT" b="1" dirty="0">
                <a:solidFill>
                  <a:schemeClr val="accent1">
                    <a:lumMod val="75000"/>
                  </a:schemeClr>
                </a:solidFill>
              </a:rPr>
              <a:t>A che punto è la definizione della RIS 3 </a:t>
            </a:r>
            <a:r>
              <a:rPr lang="it-IT" b="1" dirty="0" smtClean="0">
                <a:solidFill>
                  <a:schemeClr val="accent1">
                    <a:lumMod val="75000"/>
                  </a:schemeClr>
                </a:solidFill>
              </a:rPr>
              <a:t>Sicilia</a:t>
            </a:r>
            <a:r>
              <a:rPr lang="it-IT" b="1" dirty="0">
                <a:solidFill>
                  <a:schemeClr val="accent1">
                    <a:lumMod val="75000"/>
                  </a:schemeClr>
                </a:solidFill>
              </a:rPr>
              <a:t> </a:t>
            </a:r>
            <a:r>
              <a:rPr lang="it-IT" b="1" dirty="0" smtClean="0">
                <a:solidFill>
                  <a:schemeClr val="accent1">
                    <a:lumMod val="75000"/>
                  </a:schemeClr>
                </a:solidFill>
              </a:rPr>
              <a:t>(4)  </a:t>
            </a:r>
            <a:r>
              <a:rPr lang="it-IT" dirty="0"/>
              <a:t/>
            </a:r>
            <a:br>
              <a:rPr lang="it-IT" dirty="0"/>
            </a:br>
            <a:endParaRPr lang="it-IT" dirty="0"/>
          </a:p>
        </p:txBody>
      </p:sp>
    </p:spTree>
    <p:extLst>
      <p:ext uri="{BB962C8B-B14F-4D97-AF65-F5344CB8AC3E}">
        <p14:creationId xmlns:p14="http://schemas.microsoft.com/office/powerpoint/2010/main" val="4286110541"/>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Diagramma 1"/>
          <p:cNvPicPr/>
          <p:nvPr/>
        </p:nvPicPr>
        <p:blipFill>
          <a:blip r:embed="rId3" cstate="print">
            <a:extLst>
              <a:ext uri="{28A0092B-C50C-407E-A947-70E740481C1C}">
                <a14:useLocalDpi xmlns:a14="http://schemas.microsoft.com/office/drawing/2010/main" val="0"/>
              </a:ext>
            </a:extLst>
          </a:blip>
          <a:srcRect l="-2530" r="650" b="70476"/>
          <a:stretch>
            <a:fillRect/>
          </a:stretch>
        </p:blipFill>
        <p:spPr bwMode="auto">
          <a:xfrm>
            <a:off x="195065" y="1514128"/>
            <a:ext cx="4341637" cy="1440160"/>
          </a:xfrm>
          <a:prstGeom prst="rect">
            <a:avLst/>
          </a:prstGeom>
          <a:noFill/>
        </p:spPr>
      </p:pic>
      <p:sp>
        <p:nvSpPr>
          <p:cNvPr id="9" name="Text Box 21"/>
          <p:cNvSpPr txBox="1">
            <a:spLocks noChangeArrowheads="1"/>
          </p:cNvSpPr>
          <p:nvPr/>
        </p:nvSpPr>
        <p:spPr bwMode="auto">
          <a:xfrm>
            <a:off x="1710902" y="1700808"/>
            <a:ext cx="2664296" cy="1066800"/>
          </a:xfrm>
          <a:prstGeom prst="rect">
            <a:avLst/>
          </a:prstGeom>
          <a:solidFill>
            <a:srgbClr val="C0504D"/>
          </a:solidFill>
          <a:ln w="38100">
            <a:solidFill>
              <a:srgbClr val="C0504D"/>
            </a:solidFill>
            <a:miter lim="800000"/>
            <a:headEnd/>
            <a:tailEnd/>
          </a:ln>
          <a:effectLst>
            <a:outerShdw dist="28398" dir="3806097" algn="ctr" rotWithShape="0">
              <a:srgbClr val="622423">
                <a:alpha val="50000"/>
              </a:srgbClr>
            </a:outerShdw>
          </a:effectLst>
        </p:spPr>
        <p:txBody>
          <a:bodyPr rot="0" vert="horz" wrap="square" lIns="91440" tIns="45720" rIns="91440" bIns="45720" anchor="t" anchorCtr="0" upright="1">
            <a:noAutofit/>
          </a:bodyPr>
          <a:lstStyle/>
          <a:p>
            <a:pPr algn="ctr">
              <a:lnSpc>
                <a:spcPct val="120000"/>
              </a:lnSpc>
              <a:spcBef>
                <a:spcPts val="1400"/>
              </a:spcBef>
              <a:spcAft>
                <a:spcPts val="1000"/>
              </a:spcAft>
            </a:pPr>
            <a:r>
              <a:rPr lang="it-IT" sz="1400" b="1" dirty="0">
                <a:solidFill>
                  <a:srgbClr val="FFFFFF"/>
                </a:solidFill>
                <a:effectLst/>
                <a:uFill>
                  <a:solidFill>
                    <a:srgbClr val="000000"/>
                  </a:solidFill>
                </a:uFill>
                <a:latin typeface="Arial"/>
                <a:ea typeface="Times New Roman"/>
                <a:cs typeface="Times New Roman"/>
              </a:rPr>
              <a:t>TURISMO, CULTURA E BENI  CULTURALI</a:t>
            </a:r>
            <a:endParaRPr lang="it-IT" sz="1100" dirty="0">
              <a:solidFill>
                <a:srgbClr val="000000"/>
              </a:solidFill>
              <a:effectLst/>
              <a:uFill>
                <a:solidFill>
                  <a:srgbClr val="000000"/>
                </a:solidFill>
              </a:uFill>
              <a:latin typeface="Arial"/>
              <a:ea typeface="Times New Roman"/>
              <a:cs typeface="Times New Roman"/>
            </a:endParaRPr>
          </a:p>
        </p:txBody>
      </p:sp>
      <p:graphicFrame>
        <p:nvGraphicFramePr>
          <p:cNvPr id="10" name="Diagramma 9"/>
          <p:cNvGraphicFramePr/>
          <p:nvPr>
            <p:extLst>
              <p:ext uri="{D42A27DB-BD31-4B8C-83A1-F6EECF244321}">
                <p14:modId xmlns:p14="http://schemas.microsoft.com/office/powerpoint/2010/main" val="94542307"/>
              </p:ext>
            </p:extLst>
          </p:nvPr>
        </p:nvGraphicFramePr>
        <p:xfrm>
          <a:off x="323528" y="764704"/>
          <a:ext cx="8568952" cy="36933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ttangolo 10"/>
          <p:cNvSpPr>
            <a:spLocks noChangeArrowheads="1"/>
          </p:cNvSpPr>
          <p:nvPr/>
        </p:nvSpPr>
        <p:spPr bwMode="auto">
          <a:xfrm>
            <a:off x="576423" y="3100325"/>
            <a:ext cx="4069158" cy="1402080"/>
          </a:xfrm>
          <a:prstGeom prst="rect">
            <a:avLst/>
          </a:prstGeom>
          <a:ln/>
          <a:extLst/>
        </p:spPr>
        <p:style>
          <a:lnRef idx="2">
            <a:schemeClr val="accent2">
              <a:shade val="50000"/>
            </a:schemeClr>
          </a:lnRef>
          <a:fillRef idx="1">
            <a:schemeClr val="accent2"/>
          </a:fillRef>
          <a:effectRef idx="0">
            <a:schemeClr val="accent2"/>
          </a:effectRef>
          <a:fontRef idx="minor">
            <a:schemeClr val="lt1"/>
          </a:fontRef>
        </p:style>
        <p:txBody>
          <a:bodyPr rot="0" vert="horz" wrap="square" lIns="91440" tIns="45720" rIns="91440" bIns="45720" anchor="ctr" anchorCtr="0" upright="1">
            <a:noAutofit/>
          </a:bodyPr>
          <a:lstStyle/>
          <a:p>
            <a:pPr algn="just">
              <a:spcBef>
                <a:spcPts val="1400"/>
              </a:spcBef>
              <a:spcAft>
                <a:spcPts val="0"/>
              </a:spcAft>
            </a:pPr>
            <a:r>
              <a:rPr lang="it-IT" sz="1100" i="1" dirty="0">
                <a:solidFill>
                  <a:schemeClr val="bg1"/>
                </a:solidFill>
                <a:effectLst>
                  <a:outerShdw blurRad="38100" dist="38100" dir="2700000" algn="tl">
                    <a:srgbClr val="000000">
                      <a:alpha val="43137"/>
                    </a:srgbClr>
                  </a:outerShdw>
                </a:effectLst>
                <a:uFill>
                  <a:solidFill>
                    <a:srgbClr val="000000"/>
                  </a:solidFill>
                </a:uFill>
                <a:ea typeface="Times New Roman"/>
                <a:cs typeface="Times New Roman"/>
              </a:rPr>
              <a:t>Dei 12 ambiti tematici individuati dai tavoli nazionali (economia del mare, mobilità sostenibile, scienze della vita, beni culturali, chimica verde, </a:t>
            </a:r>
            <a:r>
              <a:rPr lang="it-IT" sz="1100" i="1" dirty="0" err="1">
                <a:solidFill>
                  <a:schemeClr val="bg1"/>
                </a:solidFill>
                <a:effectLst>
                  <a:outerShdw blurRad="38100" dist="38100" dir="2700000" algn="tl">
                    <a:srgbClr val="000000">
                      <a:alpha val="43137"/>
                    </a:srgbClr>
                  </a:outerShdw>
                </a:effectLst>
                <a:uFill>
                  <a:solidFill>
                    <a:srgbClr val="000000"/>
                  </a:solidFill>
                </a:uFill>
                <a:ea typeface="Times New Roman"/>
                <a:cs typeface="Times New Roman"/>
              </a:rPr>
              <a:t>smart</a:t>
            </a:r>
            <a:r>
              <a:rPr lang="it-IT" sz="1100" i="1" dirty="0">
                <a:solidFill>
                  <a:schemeClr val="bg1"/>
                </a:solidFill>
                <a:effectLst>
                  <a:outerShdw blurRad="38100" dist="38100" dir="2700000" algn="tl">
                    <a:srgbClr val="000000">
                      <a:alpha val="43137"/>
                    </a:srgbClr>
                  </a:outerShdw>
                </a:effectLst>
                <a:uFill>
                  <a:solidFill>
                    <a:srgbClr val="000000"/>
                  </a:solidFill>
                </a:uFill>
                <a:ea typeface="Times New Roman"/>
                <a:cs typeface="Times New Roman"/>
              </a:rPr>
              <a:t> cities and </a:t>
            </a:r>
            <a:r>
              <a:rPr lang="it-IT" sz="1100" i="1" dirty="0" err="1">
                <a:solidFill>
                  <a:schemeClr val="bg1"/>
                </a:solidFill>
                <a:effectLst>
                  <a:outerShdw blurRad="38100" dist="38100" dir="2700000" algn="tl">
                    <a:srgbClr val="000000">
                      <a:alpha val="43137"/>
                    </a:srgbClr>
                  </a:outerShdw>
                </a:effectLst>
                <a:uFill>
                  <a:solidFill>
                    <a:srgbClr val="000000"/>
                  </a:solidFill>
                </a:uFill>
                <a:ea typeface="Times New Roman"/>
                <a:cs typeface="Times New Roman"/>
              </a:rPr>
              <a:t>communities</a:t>
            </a:r>
            <a:r>
              <a:rPr lang="it-IT" sz="1100" i="1" dirty="0">
                <a:solidFill>
                  <a:schemeClr val="bg1"/>
                </a:solidFill>
                <a:effectLst>
                  <a:outerShdw blurRad="38100" dist="38100" dir="2700000" algn="tl">
                    <a:srgbClr val="000000">
                      <a:alpha val="43137"/>
                    </a:srgbClr>
                  </a:outerShdw>
                </a:effectLst>
                <a:uFill>
                  <a:solidFill>
                    <a:srgbClr val="000000"/>
                  </a:solidFill>
                </a:uFill>
                <a:ea typeface="Times New Roman"/>
                <a:cs typeface="Times New Roman"/>
              </a:rPr>
              <a:t>, tecnologie per gli ambienti di vita, </a:t>
            </a:r>
            <a:r>
              <a:rPr lang="it-IT" sz="1100" i="1" dirty="0" err="1">
                <a:solidFill>
                  <a:schemeClr val="bg1"/>
                </a:solidFill>
                <a:effectLst>
                  <a:outerShdw blurRad="38100" dist="38100" dir="2700000" algn="tl">
                    <a:srgbClr val="000000">
                      <a:alpha val="43137"/>
                    </a:srgbClr>
                  </a:outerShdw>
                </a:effectLst>
                <a:uFill>
                  <a:solidFill>
                    <a:srgbClr val="000000"/>
                  </a:solidFill>
                </a:uFill>
                <a:ea typeface="Times New Roman"/>
                <a:cs typeface="Times New Roman"/>
              </a:rPr>
              <a:t>agrifood</a:t>
            </a:r>
            <a:r>
              <a:rPr lang="it-IT" sz="1100" i="1" dirty="0">
                <a:solidFill>
                  <a:schemeClr val="bg1"/>
                </a:solidFill>
                <a:effectLst>
                  <a:outerShdw blurRad="38100" dist="38100" dir="2700000" algn="tl">
                    <a:srgbClr val="000000">
                      <a:alpha val="43137"/>
                    </a:srgbClr>
                  </a:outerShdw>
                </a:effectLst>
                <a:uFill>
                  <a:solidFill>
                    <a:srgbClr val="000000"/>
                  </a:solidFill>
                </a:uFill>
                <a:ea typeface="Times New Roman"/>
                <a:cs typeface="Times New Roman"/>
              </a:rPr>
              <a:t>, energia, innovazione non basata su ricerca e sviluppo, fabbrica intelligente e aerospazio) sono stati ricondotti all’interno del tavolo denominato “Turismo, Cultura e Beni Culturali”, l’ambito</a:t>
            </a:r>
            <a:r>
              <a:rPr lang="it-IT" sz="1100" i="1" dirty="0">
                <a:solidFill>
                  <a:schemeClr val="bg1"/>
                </a:solidFill>
                <a:effectLst/>
                <a:uFill>
                  <a:solidFill>
                    <a:srgbClr val="000000"/>
                  </a:solidFill>
                </a:uFill>
                <a:ea typeface="Times New Roman"/>
                <a:cs typeface="Times New Roman"/>
              </a:rPr>
              <a:t>: </a:t>
            </a:r>
            <a:r>
              <a:rPr lang="it-IT" sz="1100" b="1" i="1" dirty="0" smtClean="0">
                <a:solidFill>
                  <a:schemeClr val="bg1"/>
                </a:solidFill>
                <a:effectLst>
                  <a:outerShdw blurRad="38100" dist="38100" dir="2700000" algn="tl">
                    <a:srgbClr val="000000">
                      <a:alpha val="43137"/>
                    </a:srgbClr>
                  </a:outerShdw>
                </a:effectLst>
                <a:uFill>
                  <a:solidFill>
                    <a:srgbClr val="000000"/>
                  </a:solidFill>
                </a:uFill>
                <a:ea typeface="Times New Roman"/>
                <a:cs typeface="Times New Roman"/>
              </a:rPr>
              <a:t>BENI CULTURALI  </a:t>
            </a:r>
            <a:endParaRPr lang="it-IT" sz="1100" i="1" dirty="0">
              <a:solidFill>
                <a:schemeClr val="bg1"/>
              </a:solidFill>
              <a:effectLst>
                <a:outerShdw blurRad="38100" dist="38100" dir="2700000" algn="tl">
                  <a:srgbClr val="000000">
                    <a:alpha val="43137"/>
                  </a:srgbClr>
                </a:outerShdw>
              </a:effectLst>
              <a:uFill>
                <a:solidFill>
                  <a:srgbClr val="000000"/>
                </a:solidFill>
              </a:uFill>
              <a:ea typeface="Times New Roman"/>
              <a:cs typeface="Times New Roman"/>
            </a:endParaRPr>
          </a:p>
        </p:txBody>
      </p:sp>
      <p:graphicFrame>
        <p:nvGraphicFramePr>
          <p:cNvPr id="3" name="Diagramma 2"/>
          <p:cNvGraphicFramePr/>
          <p:nvPr>
            <p:extLst>
              <p:ext uri="{D42A27DB-BD31-4B8C-83A1-F6EECF244321}">
                <p14:modId xmlns:p14="http://schemas.microsoft.com/office/powerpoint/2010/main" val="1568001559"/>
              </p:ext>
            </p:extLst>
          </p:nvPr>
        </p:nvGraphicFramePr>
        <p:xfrm>
          <a:off x="4899354" y="806742"/>
          <a:ext cx="4015961" cy="465671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 name="Rettangolo 3"/>
          <p:cNvSpPr/>
          <p:nvPr/>
        </p:nvSpPr>
        <p:spPr>
          <a:xfrm>
            <a:off x="4806380" y="5463454"/>
            <a:ext cx="4201911" cy="369332"/>
          </a:xfrm>
          <a:prstGeom prst="rect">
            <a:avLst/>
          </a:prstGeom>
        </p:spPr>
        <p:txBody>
          <a:bodyPr wrap="square">
            <a:spAutoFit/>
          </a:bodyPr>
          <a:lstStyle/>
          <a:p>
            <a:pPr defTabSz="311150">
              <a:lnSpc>
                <a:spcPct val="90000"/>
              </a:lnSpc>
              <a:spcBef>
                <a:spcPct val="0"/>
              </a:spcBef>
              <a:spcAft>
                <a:spcPct val="35000"/>
              </a:spcAft>
            </a:pPr>
            <a:r>
              <a:rPr lang="it-IT" sz="1000" b="1" dirty="0" smtClean="0">
                <a:solidFill>
                  <a:srgbClr val="C00000"/>
                </a:solidFill>
              </a:rPr>
              <a:t>**</a:t>
            </a:r>
            <a:r>
              <a:rPr lang="it-IT" sz="1000" dirty="0" smtClean="0">
                <a:solidFill>
                  <a:srgbClr val="C00000"/>
                </a:solidFill>
              </a:rPr>
              <a:t> </a:t>
            </a:r>
            <a:r>
              <a:rPr lang="it-IT" sz="1000" b="1" dirty="0" smtClean="0">
                <a:solidFill>
                  <a:srgbClr val="C00000"/>
                </a:solidFill>
              </a:rPr>
              <a:t>Per </a:t>
            </a:r>
            <a:r>
              <a:rPr lang="it-IT" sz="1000" b="1" dirty="0">
                <a:solidFill>
                  <a:srgbClr val="C00000"/>
                </a:solidFill>
              </a:rPr>
              <a:t>dettagli si veda Commissione Europea, “Libro verde – Le industrie culturali e creative, un potenziale da sfruttare”, COM (2010) 183 def., 2010. </a:t>
            </a:r>
          </a:p>
        </p:txBody>
      </p:sp>
      <p:grpSp>
        <p:nvGrpSpPr>
          <p:cNvPr id="18" name="Gruppo 17"/>
          <p:cNvGrpSpPr/>
          <p:nvPr/>
        </p:nvGrpSpPr>
        <p:grpSpPr>
          <a:xfrm>
            <a:off x="630553" y="4789753"/>
            <a:ext cx="4043895" cy="1464690"/>
            <a:chOff x="-245120" y="31535"/>
            <a:chExt cx="4043895" cy="1464690"/>
          </a:xfrm>
        </p:grpSpPr>
        <p:sp>
          <p:nvSpPr>
            <p:cNvPr id="19" name="Rettangolo 18"/>
            <p:cNvSpPr/>
            <p:nvPr/>
          </p:nvSpPr>
          <p:spPr>
            <a:xfrm>
              <a:off x="-245120" y="31535"/>
              <a:ext cx="4043895" cy="1347403"/>
            </a:xfrm>
            <a:prstGeom prst="rect">
              <a:avLst/>
            </a:prstGeom>
          </p:spPr>
          <p:style>
            <a:lnRef idx="2">
              <a:schemeClr val="accent2"/>
            </a:lnRef>
            <a:fillRef idx="1">
              <a:schemeClr val="lt1"/>
            </a:fillRef>
            <a:effectRef idx="0">
              <a:schemeClr val="accent2"/>
            </a:effectRef>
            <a:fontRef idx="minor">
              <a:schemeClr val="dk1"/>
            </a:fontRef>
          </p:style>
        </p:sp>
        <p:sp>
          <p:nvSpPr>
            <p:cNvPr id="20" name="Rettangolo 19"/>
            <p:cNvSpPr/>
            <p:nvPr/>
          </p:nvSpPr>
          <p:spPr>
            <a:xfrm>
              <a:off x="0" y="148822"/>
              <a:ext cx="3528392" cy="134740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45720" tIns="45720" rIns="45720" bIns="45720" numCol="1" spcCol="1270" anchor="t" anchorCtr="0">
              <a:noAutofit/>
            </a:bodyPr>
            <a:lstStyle/>
            <a:p>
              <a:pPr lvl="0" algn="just" defTabSz="533400" rtl="0">
                <a:lnSpc>
                  <a:spcPct val="90000"/>
                </a:lnSpc>
                <a:spcBef>
                  <a:spcPct val="0"/>
                </a:spcBef>
                <a:spcAft>
                  <a:spcPct val="35000"/>
                </a:spcAft>
              </a:pPr>
              <a:r>
                <a:rPr lang="it-IT" sz="1200" b="1" kern="1200" dirty="0" smtClean="0"/>
                <a:t>Turismo, Cultura e Beni Culturali  vanno considerati in un’ottica integrata quale </a:t>
              </a:r>
              <a:r>
                <a:rPr lang="it-IT" sz="1200" b="1" i="1" kern="1200" dirty="0" smtClean="0"/>
                <a:t>leva</a:t>
              </a:r>
              <a:r>
                <a:rPr lang="it-IT" sz="1200" b="1" kern="1200" dirty="0" smtClean="0"/>
                <a:t> per nuove aree e modelli di business con grandi potenzialità in termini di occupazione ad alto valore aggiunto, come peraltro già individuato nel Libro Verde della Commissione Europea* in cui si definisce il perimetro di interesse delle Industrie Culturali e Creative (ICC)**.</a:t>
              </a:r>
              <a:endParaRPr lang="it-IT" sz="1200" kern="1200" dirty="0"/>
            </a:p>
          </p:txBody>
        </p:sp>
      </p:grpSp>
    </p:spTree>
    <p:extLst>
      <p:ext uri="{BB962C8B-B14F-4D97-AF65-F5344CB8AC3E}">
        <p14:creationId xmlns:p14="http://schemas.microsoft.com/office/powerpoint/2010/main" val="3323103172"/>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ma 6"/>
          <p:cNvGraphicFramePr/>
          <p:nvPr>
            <p:extLst>
              <p:ext uri="{D42A27DB-BD31-4B8C-83A1-F6EECF244321}">
                <p14:modId xmlns:p14="http://schemas.microsoft.com/office/powerpoint/2010/main" val="2106270520"/>
              </p:ext>
            </p:extLst>
          </p:nvPr>
        </p:nvGraphicFramePr>
        <p:xfrm>
          <a:off x="1115616" y="764704"/>
          <a:ext cx="7272808"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ma 7"/>
          <p:cNvGraphicFramePr/>
          <p:nvPr>
            <p:extLst>
              <p:ext uri="{D42A27DB-BD31-4B8C-83A1-F6EECF244321}">
                <p14:modId xmlns:p14="http://schemas.microsoft.com/office/powerpoint/2010/main" val="4051938995"/>
              </p:ext>
            </p:extLst>
          </p:nvPr>
        </p:nvGraphicFramePr>
        <p:xfrm>
          <a:off x="251520" y="1988840"/>
          <a:ext cx="5832648" cy="309634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 name="Rettangolo 10"/>
          <p:cNvSpPr/>
          <p:nvPr/>
        </p:nvSpPr>
        <p:spPr>
          <a:xfrm>
            <a:off x="3851920" y="6165304"/>
            <a:ext cx="4853893" cy="400110"/>
          </a:xfrm>
          <a:prstGeom prst="rect">
            <a:avLst/>
          </a:prstGeom>
          <a:noFill/>
        </p:spPr>
        <p:txBody>
          <a:bodyPr wrap="none" lIns="91440" tIns="45720" rIns="91440" bIns="45720">
            <a:spAutoFit/>
          </a:bodyPr>
          <a:lstStyle/>
          <a:p>
            <a:pPr algn="ctr"/>
            <a:r>
              <a:rPr lang="it-IT" sz="2000" b="1" cap="none" spc="0" dirty="0" smtClean="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Aggiornato alle ore 14.00 del 7 maggio 2014</a:t>
            </a:r>
            <a:endParaRPr lang="it-IT" sz="20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p:txBody>
      </p:sp>
      <p:graphicFrame>
        <p:nvGraphicFramePr>
          <p:cNvPr id="12" name="Tabella 11"/>
          <p:cNvGraphicFramePr>
            <a:graphicFrameLocks noGrp="1"/>
          </p:cNvGraphicFramePr>
          <p:nvPr>
            <p:extLst>
              <p:ext uri="{D42A27DB-BD31-4B8C-83A1-F6EECF244321}">
                <p14:modId xmlns:p14="http://schemas.microsoft.com/office/powerpoint/2010/main" val="2616384901"/>
              </p:ext>
            </p:extLst>
          </p:nvPr>
        </p:nvGraphicFramePr>
        <p:xfrm>
          <a:off x="6156176" y="2996952"/>
          <a:ext cx="2908299" cy="3246120"/>
        </p:xfrm>
        <a:graphic>
          <a:graphicData uri="http://schemas.openxmlformats.org/drawingml/2006/table">
            <a:tbl>
              <a:tblPr/>
              <a:tblGrid>
                <a:gridCol w="1802092"/>
                <a:gridCol w="623801"/>
                <a:gridCol w="482406"/>
              </a:tblGrid>
              <a:tr h="198120">
                <a:tc>
                  <a:txBody>
                    <a:bodyPr/>
                    <a:lstStyle/>
                    <a:p>
                      <a:pPr algn="l" fontAlgn="b"/>
                      <a:endParaRPr lang="it-IT" sz="1000" b="0" i="0" u="none" strike="noStrike">
                        <a:effectLst/>
                        <a:latin typeface="Arial" panose="020B0604020202020204" pitchFamily="34" charset="0"/>
                      </a:endParaRPr>
                    </a:p>
                  </a:txBody>
                  <a:tcPr marL="7620" marR="7620" marT="7620" marB="0" anchor="b">
                    <a:lnL>
                      <a:noFill/>
                    </a:lnL>
                    <a:lnR>
                      <a:noFill/>
                    </a:lnR>
                    <a:lnT>
                      <a:noFill/>
                    </a:lnT>
                    <a:lnB>
                      <a:noFill/>
                    </a:lnB>
                  </a:tcPr>
                </a:tc>
                <a:tc gridSpan="2">
                  <a:txBody>
                    <a:bodyPr/>
                    <a:lstStyle/>
                    <a:p>
                      <a:pPr algn="ctr" fontAlgn="b"/>
                      <a:r>
                        <a:rPr lang="it-IT" sz="1200" b="1" i="0" u="none" strike="noStrike">
                          <a:solidFill>
                            <a:srgbClr val="FFFFFF"/>
                          </a:solidFill>
                          <a:effectLst/>
                          <a:latin typeface="Arial" panose="020B0604020202020204" pitchFamily="34" charset="0"/>
                        </a:rPr>
                        <a:t>PARTECIPANTI</a:t>
                      </a:r>
                    </a:p>
                  </a:txBody>
                  <a:tcPr marL="7620" marR="7620" marT="7620" marB="0" anchor="b">
                    <a:lnL>
                      <a:noFill/>
                    </a:lnL>
                    <a:lnR>
                      <a:noFill/>
                    </a:lnR>
                    <a:lnT>
                      <a:noFill/>
                    </a:lnT>
                    <a:lnB w="6350" cap="flat" cmpd="sng" algn="ctr">
                      <a:solidFill>
                        <a:srgbClr val="ABABAB"/>
                      </a:solidFill>
                      <a:prstDash val="solid"/>
                      <a:round/>
                      <a:headEnd type="none" w="med" len="med"/>
                      <a:tailEnd type="none" w="med" len="med"/>
                    </a:lnB>
                    <a:solidFill>
                      <a:srgbClr val="ED7D31"/>
                    </a:solidFill>
                  </a:tcPr>
                </a:tc>
                <a:tc hMerge="1">
                  <a:txBody>
                    <a:bodyPr/>
                    <a:lstStyle/>
                    <a:p>
                      <a:endParaRPr lang="it-IT"/>
                    </a:p>
                  </a:txBody>
                  <a:tcPr/>
                </a:tc>
              </a:tr>
              <a:tr h="198120">
                <a:tc>
                  <a:txBody>
                    <a:bodyPr/>
                    <a:lstStyle/>
                    <a:p>
                      <a:pPr algn="ctr" fontAlgn="b"/>
                      <a:r>
                        <a:rPr lang="it-IT" sz="1200" b="1" i="0" u="none" strike="noStrike">
                          <a:solidFill>
                            <a:srgbClr val="FFFFFF"/>
                          </a:solidFill>
                          <a:effectLst/>
                          <a:latin typeface="Arial" panose="020B0604020202020204" pitchFamily="34" charset="0"/>
                        </a:rPr>
                        <a:t>TIPOLOGIA</a:t>
                      </a:r>
                    </a:p>
                  </a:txBody>
                  <a:tcPr marL="7620" marR="7620" marT="7620" marB="0" anchor="b">
                    <a:lnL>
                      <a:noFill/>
                    </a:lnL>
                    <a:lnR w="6350" cap="flat" cmpd="sng" algn="ctr">
                      <a:solidFill>
                        <a:srgbClr val="ABABAB"/>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ED7D31"/>
                    </a:solidFill>
                  </a:tcPr>
                </a:tc>
                <a:tc>
                  <a:txBody>
                    <a:bodyPr/>
                    <a:lstStyle/>
                    <a:p>
                      <a:pPr algn="ctr" fontAlgn="b"/>
                      <a:r>
                        <a:rPr lang="it-IT" sz="1200" b="1" i="0" u="none" strike="noStrike">
                          <a:solidFill>
                            <a:srgbClr val="FFFFFF"/>
                          </a:solidFill>
                          <a:effectLst/>
                          <a:latin typeface="Arial" panose="020B0604020202020204" pitchFamily="34" charset="0"/>
                        </a:rPr>
                        <a:t>N.</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BABAB"/>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D7D31"/>
                    </a:solidFill>
                  </a:tcPr>
                </a:tc>
                <a:tc>
                  <a:txBody>
                    <a:bodyPr/>
                    <a:lstStyle/>
                    <a:p>
                      <a:pPr algn="ctr" fontAlgn="b"/>
                      <a:r>
                        <a:rPr lang="it-IT" sz="1200" b="1" i="0" u="none" strike="noStrike">
                          <a:solidFill>
                            <a:srgbClr val="FFFFFF"/>
                          </a:solidFill>
                          <a:effectLst/>
                          <a:latin typeface="Arial" panose="020B0604020202020204" pitchFamily="34" charset="0"/>
                        </a:rPr>
                        <a:t>%</a:t>
                      </a:r>
                    </a:p>
                  </a:txBody>
                  <a:tcPr marL="7620" marR="7620" marT="7620" marB="0" anchor="b">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ED7D31"/>
                    </a:solidFill>
                  </a:tcPr>
                </a:tc>
              </a:tr>
              <a:tr h="190500">
                <a:tc>
                  <a:txBody>
                    <a:bodyPr/>
                    <a:lstStyle/>
                    <a:p>
                      <a:pPr algn="l" fontAlgn="b"/>
                      <a:r>
                        <a:rPr lang="it-IT" sz="1000" b="0" i="0" u="none" strike="noStrike">
                          <a:solidFill>
                            <a:srgbClr val="000000"/>
                          </a:solidFill>
                          <a:effectLst/>
                          <a:latin typeface="Arial" panose="020B0604020202020204" pitchFamily="34" charset="0"/>
                        </a:rPr>
                        <a:t>IMPRESA</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15</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27%</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0500">
                <a:tc>
                  <a:txBody>
                    <a:bodyPr/>
                    <a:lstStyle/>
                    <a:p>
                      <a:pPr algn="l" fontAlgn="b"/>
                      <a:r>
                        <a:rPr lang="it-IT" sz="1000" b="0" i="0" u="none" strike="noStrike">
                          <a:solidFill>
                            <a:srgbClr val="000000"/>
                          </a:solidFill>
                          <a:effectLst/>
                          <a:latin typeface="Arial" panose="020B0604020202020204" pitchFamily="34" charset="0"/>
                        </a:rPr>
                        <a:t>CNR</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000" b="0" i="0" u="none" strike="noStrike">
                          <a:solidFill>
                            <a:srgbClr val="000000"/>
                          </a:solidFill>
                          <a:effectLst/>
                          <a:latin typeface="Arial" panose="020B0604020202020204" pitchFamily="34" charset="0"/>
                        </a:rPr>
                        <a:t>12</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200" b="0" i="0" u="none" strike="noStrike">
                          <a:effectLst/>
                          <a:latin typeface="Arial" panose="020B0604020202020204" pitchFamily="34" charset="0"/>
                        </a:rPr>
                        <a:t>21%</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r>
              <a:tr h="190500">
                <a:tc>
                  <a:txBody>
                    <a:bodyPr/>
                    <a:lstStyle/>
                    <a:p>
                      <a:pPr algn="l" fontAlgn="b"/>
                      <a:r>
                        <a:rPr lang="it-IT" sz="1000" b="0" i="0" u="none" strike="noStrike">
                          <a:solidFill>
                            <a:srgbClr val="000000"/>
                          </a:solidFill>
                          <a:effectLst/>
                          <a:latin typeface="Arial" panose="020B0604020202020204" pitchFamily="34" charset="0"/>
                        </a:rPr>
                        <a:t>UNIVERSITA'</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11</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20%</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0500">
                <a:tc>
                  <a:txBody>
                    <a:bodyPr/>
                    <a:lstStyle/>
                    <a:p>
                      <a:pPr algn="l" fontAlgn="b"/>
                      <a:r>
                        <a:rPr lang="it-IT" sz="1000" b="0" i="0" u="none" strike="noStrike">
                          <a:solidFill>
                            <a:srgbClr val="000000"/>
                          </a:solidFill>
                          <a:effectLst/>
                          <a:latin typeface="Arial" panose="020B0604020202020204" pitchFamily="34" charset="0"/>
                        </a:rPr>
                        <a:t>COMUNE </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000" b="0" i="0" u="none" strike="noStrike">
                          <a:solidFill>
                            <a:srgbClr val="000000"/>
                          </a:solidFill>
                          <a:effectLst/>
                          <a:latin typeface="Arial" panose="020B0604020202020204" pitchFamily="34" charset="0"/>
                        </a:rPr>
                        <a:t>3</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200" b="0" i="0" u="none" strike="noStrike">
                          <a:effectLst/>
                          <a:latin typeface="Arial" panose="020B0604020202020204" pitchFamily="34" charset="0"/>
                        </a:rPr>
                        <a:t>5%</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r>
              <a:tr h="190500">
                <a:tc>
                  <a:txBody>
                    <a:bodyPr/>
                    <a:lstStyle/>
                    <a:p>
                      <a:pPr algn="l" fontAlgn="b"/>
                      <a:r>
                        <a:rPr lang="it-IT" sz="1000" b="0" i="0" u="none" strike="noStrike">
                          <a:solidFill>
                            <a:srgbClr val="000000"/>
                          </a:solidFill>
                          <a:effectLst/>
                          <a:latin typeface="Arial" panose="020B0604020202020204" pitchFamily="34" charset="0"/>
                        </a:rPr>
                        <a:t>INCUBATORE</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3</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5%</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0500">
                <a:tc>
                  <a:txBody>
                    <a:bodyPr/>
                    <a:lstStyle/>
                    <a:p>
                      <a:pPr algn="l" fontAlgn="b"/>
                      <a:r>
                        <a:rPr lang="it-IT" sz="1000" b="0" i="0" u="none" strike="noStrike">
                          <a:solidFill>
                            <a:srgbClr val="000000"/>
                          </a:solidFill>
                          <a:effectLst/>
                          <a:latin typeface="Arial" panose="020B0604020202020204" pitchFamily="34" charset="0"/>
                        </a:rPr>
                        <a:t>REGIONE</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000" b="0" i="0" u="none" strike="noStrike">
                          <a:solidFill>
                            <a:srgbClr val="000000"/>
                          </a:solidFill>
                          <a:effectLst/>
                          <a:latin typeface="Arial" panose="020B0604020202020204" pitchFamily="34" charset="0"/>
                        </a:rPr>
                        <a:t>3</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200" b="0" i="0" u="none" strike="noStrike">
                          <a:effectLst/>
                          <a:latin typeface="Arial" panose="020B0604020202020204" pitchFamily="34" charset="0"/>
                        </a:rPr>
                        <a:t>5%</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r>
              <a:tr h="190500">
                <a:tc>
                  <a:txBody>
                    <a:bodyPr/>
                    <a:lstStyle/>
                    <a:p>
                      <a:pPr algn="l" fontAlgn="b"/>
                      <a:r>
                        <a:rPr lang="it-IT" sz="1000" b="0" i="0" u="none" strike="noStrike">
                          <a:solidFill>
                            <a:srgbClr val="000000"/>
                          </a:solidFill>
                          <a:effectLst/>
                          <a:latin typeface="Arial" panose="020B0604020202020204" pitchFamily="34" charset="0"/>
                        </a:rPr>
                        <a:t>CENTRO SVILUPPO</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2</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4%</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0500">
                <a:tc>
                  <a:txBody>
                    <a:bodyPr/>
                    <a:lstStyle/>
                    <a:p>
                      <a:pPr algn="l" fontAlgn="b"/>
                      <a:r>
                        <a:rPr lang="it-IT" sz="1000" b="0" i="0" u="none" strike="noStrike">
                          <a:solidFill>
                            <a:srgbClr val="000000"/>
                          </a:solidFill>
                          <a:effectLst/>
                          <a:latin typeface="Arial" panose="020B0604020202020204" pitchFamily="34" charset="0"/>
                        </a:rPr>
                        <a:t>CITTADINO</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000" b="0" i="0" u="none" strike="noStrike">
                          <a:solidFill>
                            <a:srgbClr val="000000"/>
                          </a:solidFill>
                          <a:effectLst/>
                          <a:latin typeface="Arial" panose="020B0604020202020204" pitchFamily="34" charset="0"/>
                        </a:rPr>
                        <a:t>2</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200" b="0" i="0" u="none" strike="noStrike">
                          <a:effectLst/>
                          <a:latin typeface="Arial" panose="020B0604020202020204" pitchFamily="34" charset="0"/>
                        </a:rPr>
                        <a:t>4%</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r>
              <a:tr h="190500">
                <a:tc>
                  <a:txBody>
                    <a:bodyPr/>
                    <a:lstStyle/>
                    <a:p>
                      <a:pPr algn="l" fontAlgn="b"/>
                      <a:r>
                        <a:rPr lang="it-IT" sz="1000" b="0" i="0" u="none" strike="noStrike">
                          <a:solidFill>
                            <a:srgbClr val="000000"/>
                          </a:solidFill>
                          <a:effectLst/>
                          <a:latin typeface="Arial" panose="020B0604020202020204" pitchFamily="34" charset="0"/>
                        </a:rPr>
                        <a:t>DISTRETTO</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1</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2%</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0500">
                <a:tc>
                  <a:txBody>
                    <a:bodyPr/>
                    <a:lstStyle/>
                    <a:p>
                      <a:pPr algn="l" fontAlgn="b"/>
                      <a:r>
                        <a:rPr lang="it-IT" sz="1000" b="0" i="0" u="none" strike="noStrike">
                          <a:solidFill>
                            <a:srgbClr val="000000"/>
                          </a:solidFill>
                          <a:effectLst/>
                          <a:latin typeface="Arial" panose="020B0604020202020204" pitchFamily="34" charset="0"/>
                        </a:rPr>
                        <a:t>ESPERTO BREVETTI</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000" b="0" i="0" u="none" strike="noStrike">
                          <a:solidFill>
                            <a:srgbClr val="000000"/>
                          </a:solidFill>
                          <a:effectLst/>
                          <a:latin typeface="Arial" panose="020B0604020202020204" pitchFamily="34" charset="0"/>
                        </a:rPr>
                        <a:t>1</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200" b="0" i="0" u="none" strike="noStrike">
                          <a:effectLst/>
                          <a:latin typeface="Arial" panose="020B0604020202020204" pitchFamily="34" charset="0"/>
                        </a:rPr>
                        <a:t>2%</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r>
              <a:tr h="190500">
                <a:tc>
                  <a:txBody>
                    <a:bodyPr/>
                    <a:lstStyle/>
                    <a:p>
                      <a:pPr algn="l" fontAlgn="b"/>
                      <a:r>
                        <a:rPr lang="it-IT" sz="1000" b="0" i="0" u="none" strike="noStrike">
                          <a:solidFill>
                            <a:srgbClr val="000000"/>
                          </a:solidFill>
                          <a:effectLst/>
                          <a:latin typeface="Arial" panose="020B0604020202020204" pitchFamily="34" charset="0"/>
                        </a:rPr>
                        <a:t>PROFESSIONISTA</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1</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2%</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0500">
                <a:tc>
                  <a:txBody>
                    <a:bodyPr/>
                    <a:lstStyle/>
                    <a:p>
                      <a:pPr algn="l" fontAlgn="b"/>
                      <a:r>
                        <a:rPr lang="it-IT" sz="1000" b="0" i="0" u="none" strike="noStrike">
                          <a:solidFill>
                            <a:srgbClr val="000000"/>
                          </a:solidFill>
                          <a:effectLst/>
                          <a:latin typeface="Arial" panose="020B0604020202020204" pitchFamily="34" charset="0"/>
                        </a:rPr>
                        <a:t>TEATRO</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000" b="0" i="0" u="none" strike="noStrike">
                          <a:solidFill>
                            <a:srgbClr val="000000"/>
                          </a:solidFill>
                          <a:effectLst/>
                          <a:latin typeface="Arial" panose="020B0604020202020204" pitchFamily="34" charset="0"/>
                        </a:rPr>
                        <a:t>1</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200" b="0" i="0" u="none" strike="noStrike">
                          <a:effectLst/>
                          <a:latin typeface="Arial" panose="020B0604020202020204" pitchFamily="34" charset="0"/>
                        </a:rPr>
                        <a:t>2%</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r>
              <a:tr h="190500">
                <a:tc>
                  <a:txBody>
                    <a:bodyPr/>
                    <a:lstStyle/>
                    <a:p>
                      <a:pPr algn="l" fontAlgn="b"/>
                      <a:r>
                        <a:rPr lang="it-IT" sz="1000" b="0" i="0" u="none" strike="noStrike">
                          <a:solidFill>
                            <a:srgbClr val="000000"/>
                          </a:solidFill>
                          <a:effectLst/>
                          <a:latin typeface="Arial" panose="020B0604020202020204" pitchFamily="34" charset="0"/>
                        </a:rPr>
                        <a:t>ASSOCIAZIONE SPORTIVA</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1</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2%</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8120">
                <a:tc>
                  <a:txBody>
                    <a:bodyPr/>
                    <a:lstStyle/>
                    <a:p>
                      <a:pPr algn="ctr" fontAlgn="b"/>
                      <a:r>
                        <a:rPr lang="it-IT" sz="1200" b="1" i="0" u="none" strike="noStrike">
                          <a:solidFill>
                            <a:srgbClr val="000000"/>
                          </a:solidFill>
                          <a:effectLst/>
                          <a:latin typeface="Arial" panose="020B0604020202020204" pitchFamily="34" charset="0"/>
                        </a:rPr>
                        <a:t>TOTALE ADESIONI</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8CBAD"/>
                    </a:solidFill>
                  </a:tcPr>
                </a:tc>
                <a:tc>
                  <a:txBody>
                    <a:bodyPr/>
                    <a:lstStyle/>
                    <a:p>
                      <a:pPr algn="ctr" fontAlgn="b"/>
                      <a:r>
                        <a:rPr lang="it-IT" sz="1200" b="1" i="0" u="none" strike="noStrike">
                          <a:solidFill>
                            <a:srgbClr val="000000"/>
                          </a:solidFill>
                          <a:effectLst/>
                          <a:latin typeface="Arial" panose="020B0604020202020204" pitchFamily="34" charset="0"/>
                        </a:rPr>
                        <a:t>56</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8CBAD"/>
                    </a:solidFill>
                  </a:tcPr>
                </a:tc>
                <a:tc>
                  <a:txBody>
                    <a:bodyPr/>
                    <a:lstStyle/>
                    <a:p>
                      <a:pPr algn="r" fontAlgn="b"/>
                      <a:r>
                        <a:rPr lang="it-IT" sz="1200" b="1" i="0" u="none" strike="noStrike" dirty="0">
                          <a:solidFill>
                            <a:srgbClr val="000000"/>
                          </a:solidFill>
                          <a:effectLst/>
                          <a:latin typeface="Arial" panose="020B0604020202020204" pitchFamily="34" charset="0"/>
                        </a:rPr>
                        <a:t>100%</a:t>
                      </a:r>
                    </a:p>
                  </a:txBody>
                  <a:tcPr marL="7620" marR="7620" marT="7620" marB="0" anchor="b">
                    <a:lnL w="6350" cap="flat" cmpd="sng" algn="ctr">
                      <a:solidFill>
                        <a:srgbClr val="ABABAB"/>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solidFill>
                      <a:srgbClr val="F8CBAD"/>
                    </a:solidFill>
                  </a:tcPr>
                </a:tc>
              </a:tr>
            </a:tbl>
          </a:graphicData>
        </a:graphic>
      </p:graphicFrame>
    </p:spTree>
    <p:extLst>
      <p:ext uri="{BB962C8B-B14F-4D97-AF65-F5344CB8AC3E}">
        <p14:creationId xmlns:p14="http://schemas.microsoft.com/office/powerpoint/2010/main" val="34357040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ma 8"/>
          <p:cNvGraphicFramePr/>
          <p:nvPr>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 name="Gruppo 1"/>
          <p:cNvGrpSpPr/>
          <p:nvPr/>
        </p:nvGrpSpPr>
        <p:grpSpPr>
          <a:xfrm>
            <a:off x="467544" y="1988840"/>
            <a:ext cx="8208912" cy="4680520"/>
            <a:chOff x="179512" y="1412776"/>
            <a:chExt cx="8784976" cy="5256584"/>
          </a:xfrm>
        </p:grpSpPr>
        <p:graphicFrame>
          <p:nvGraphicFramePr>
            <p:cNvPr id="16" name="Diagramma 15"/>
            <p:cNvGraphicFramePr/>
            <p:nvPr>
              <p:extLst/>
            </p:nvPr>
          </p:nvGraphicFramePr>
          <p:xfrm>
            <a:off x="179512" y="1412776"/>
            <a:ext cx="2376264" cy="504056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8" name="Diagramma 17"/>
            <p:cNvGraphicFramePr/>
            <p:nvPr>
              <p:extLst/>
            </p:nvPr>
          </p:nvGraphicFramePr>
          <p:xfrm>
            <a:off x="1979712" y="1484784"/>
            <a:ext cx="6984776" cy="518457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graphicFrame>
        <p:nvGraphicFramePr>
          <p:cNvPr id="4" name="Diagramma 3"/>
          <p:cNvGraphicFramePr/>
          <p:nvPr>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Tree>
    <p:extLst>
      <p:ext uri="{BB962C8B-B14F-4D97-AF65-F5344CB8AC3E}">
        <p14:creationId xmlns:p14="http://schemas.microsoft.com/office/powerpoint/2010/main" val="361489215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a 4"/>
          <p:cNvGraphicFramePr/>
          <p:nvPr>
            <p:extLst/>
          </p:nvPr>
        </p:nvGraphicFramePr>
        <p:xfrm>
          <a:off x="1475656" y="1844824"/>
          <a:ext cx="6048672" cy="7200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 name="Diagramma 2"/>
          <p:cNvGraphicFramePr/>
          <p:nvPr>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4" name="Diagramma 3"/>
          <p:cNvGraphicFramePr/>
          <p:nvPr>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7" name="Diagramma 6"/>
          <p:cNvGraphicFramePr/>
          <p:nvPr>
            <p:extLst/>
          </p:nvPr>
        </p:nvGraphicFramePr>
        <p:xfrm>
          <a:off x="1294181" y="3501008"/>
          <a:ext cx="7056784" cy="2376264"/>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8" name="Rettangolo 7"/>
          <p:cNvSpPr/>
          <p:nvPr/>
        </p:nvSpPr>
        <p:spPr>
          <a:xfrm>
            <a:off x="1315172" y="2708920"/>
            <a:ext cx="400663" cy="923330"/>
          </a:xfrm>
          <a:prstGeom prst="rect">
            <a:avLst/>
          </a:prstGeom>
          <a:noFill/>
        </p:spPr>
        <p:txBody>
          <a:bodyPr wrap="square" lIns="91440" tIns="45720" rIns="91440" bIns="45720">
            <a:spAutoFit/>
          </a:bodyPr>
          <a:lstStyle/>
          <a:p>
            <a:pPr algn="ctr"/>
            <a:r>
              <a:rPr lang="it-IT" sz="5400" b="1" dirty="0" smtClean="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rPr>
              <a:t>1</a:t>
            </a:r>
            <a:endParaRPr lang="it-IT" sz="5400" b="1" cap="none" spc="0"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endParaRPr>
          </a:p>
        </p:txBody>
      </p:sp>
    </p:spTree>
    <p:extLst>
      <p:ext uri="{BB962C8B-B14F-4D97-AF65-F5344CB8AC3E}">
        <p14:creationId xmlns:p14="http://schemas.microsoft.com/office/powerpoint/2010/main" val="11042586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a 4"/>
          <p:cNvGraphicFramePr/>
          <p:nvPr>
            <p:extLst/>
          </p:nvPr>
        </p:nvGraphicFramePr>
        <p:xfrm>
          <a:off x="1475656" y="1844824"/>
          <a:ext cx="6048672" cy="7200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 name="Diagramma 2"/>
          <p:cNvGraphicFramePr/>
          <p:nvPr>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4" name="Diagramma 3"/>
          <p:cNvGraphicFramePr/>
          <p:nvPr>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7" name="Diagramma 6"/>
          <p:cNvGraphicFramePr/>
          <p:nvPr>
            <p:extLst/>
          </p:nvPr>
        </p:nvGraphicFramePr>
        <p:xfrm>
          <a:off x="1315172" y="3356992"/>
          <a:ext cx="7238259" cy="3168352"/>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8" name="Rettangolo 7"/>
          <p:cNvSpPr/>
          <p:nvPr/>
        </p:nvSpPr>
        <p:spPr>
          <a:xfrm>
            <a:off x="1315172" y="2564904"/>
            <a:ext cx="400663" cy="923330"/>
          </a:xfrm>
          <a:prstGeom prst="rect">
            <a:avLst/>
          </a:prstGeom>
          <a:noFill/>
        </p:spPr>
        <p:txBody>
          <a:bodyPr wrap="square" lIns="91440" tIns="45720" rIns="91440" bIns="45720">
            <a:spAutoFit/>
          </a:bodyPr>
          <a:lstStyle/>
          <a:p>
            <a:pPr algn="ctr"/>
            <a:r>
              <a:rPr lang="it-IT" sz="5400" b="1"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rPr>
              <a:t>2</a:t>
            </a:r>
            <a:endParaRPr lang="it-IT" sz="5400" b="1" cap="none" spc="0"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endParaRPr>
          </a:p>
        </p:txBody>
      </p:sp>
    </p:spTree>
    <p:extLst>
      <p:ext uri="{BB962C8B-B14F-4D97-AF65-F5344CB8AC3E}">
        <p14:creationId xmlns:p14="http://schemas.microsoft.com/office/powerpoint/2010/main" val="109707565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ma 8"/>
          <p:cNvGraphicFramePr/>
          <p:nvPr>
            <p:extLst/>
          </p:nvPr>
        </p:nvGraphicFramePr>
        <p:xfrm>
          <a:off x="1331640" y="5517232"/>
          <a:ext cx="6984776" cy="8309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 name="Diagramma 2"/>
          <p:cNvGraphicFramePr/>
          <p:nvPr>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4" name="Diagramma 3"/>
          <p:cNvGraphicFramePr/>
          <p:nvPr>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6" name="Diagramma 5"/>
          <p:cNvGraphicFramePr/>
          <p:nvPr>
            <p:extLst/>
          </p:nvPr>
        </p:nvGraphicFramePr>
        <p:xfrm>
          <a:off x="2987824" y="1628800"/>
          <a:ext cx="3888432" cy="348015"/>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8" name="Diagramma 7"/>
          <p:cNvGraphicFramePr/>
          <p:nvPr>
            <p:extLst/>
          </p:nvPr>
        </p:nvGraphicFramePr>
        <p:xfrm>
          <a:off x="395536" y="1916832"/>
          <a:ext cx="8496944" cy="3528392"/>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spTree>
    <p:extLst>
      <p:ext uri="{BB962C8B-B14F-4D97-AF65-F5344CB8AC3E}">
        <p14:creationId xmlns:p14="http://schemas.microsoft.com/office/powerpoint/2010/main" val="9475946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la 1"/>
          <p:cNvGraphicFramePr>
            <a:graphicFrameLocks noGrp="1"/>
          </p:cNvGraphicFramePr>
          <p:nvPr>
            <p:extLst/>
          </p:nvPr>
        </p:nvGraphicFramePr>
        <p:xfrm>
          <a:off x="251520" y="1541970"/>
          <a:ext cx="8640960" cy="4351606"/>
        </p:xfrm>
        <a:graphic>
          <a:graphicData uri="http://schemas.openxmlformats.org/drawingml/2006/table">
            <a:tbl>
              <a:tblPr firstRow="1" bandRow="1">
                <a:tableStyleId>{93296810-A885-4BE3-A3E7-6D5BEEA58F35}</a:tableStyleId>
              </a:tblPr>
              <a:tblGrid>
                <a:gridCol w="8640960"/>
              </a:tblGrid>
              <a:tr h="359496">
                <a:tc>
                  <a:txBody>
                    <a:bodyPr/>
                    <a:lstStyle/>
                    <a:p>
                      <a:r>
                        <a:rPr lang="it-IT" dirty="0" smtClean="0"/>
                        <a:t>DATI</a:t>
                      </a:r>
                      <a:r>
                        <a:rPr lang="it-IT" baseline="0" dirty="0" smtClean="0"/>
                        <a:t> / EVIDENZE </a:t>
                      </a:r>
                      <a:endParaRPr lang="it-IT" dirty="0"/>
                    </a:p>
                  </a:txBody>
                  <a:tcPr/>
                </a:tc>
              </a:tr>
              <a:tr h="491186">
                <a:tc>
                  <a:txBody>
                    <a:bodyPr/>
                    <a:lstStyle/>
                    <a:p>
                      <a:pPr marL="0" lvl="0" indent="0" algn="just">
                        <a:lnSpc>
                          <a:spcPct val="115000"/>
                        </a:lnSpc>
                        <a:spcAft>
                          <a:spcPts val="300"/>
                        </a:spcAft>
                        <a:buFont typeface="Wingdings"/>
                        <a:buNone/>
                      </a:pPr>
                      <a:r>
                        <a:rPr lang="it-IT" sz="1200" dirty="0" smtClean="0">
                          <a:effectLst/>
                          <a:latin typeface="+mn-lt"/>
                          <a:ea typeface="Calibri"/>
                          <a:cs typeface="Times New Roman"/>
                        </a:rPr>
                        <a:t>1. Il PIL turistico della Sicilia nello stesso anno, è di </a:t>
                      </a:r>
                      <a:r>
                        <a:rPr lang="it-IT" sz="1200" b="1" dirty="0" smtClean="0">
                          <a:effectLst/>
                          <a:latin typeface="+mn-lt"/>
                          <a:ea typeface="Calibri"/>
                          <a:cs typeface="Times New Roman"/>
                        </a:rPr>
                        <a:t>oltre 2 miliardi e 600 milioni di euro</a:t>
                      </a:r>
                      <a:r>
                        <a:rPr lang="it-IT" sz="1200" dirty="0" smtClean="0">
                          <a:effectLst/>
                          <a:latin typeface="+mn-lt"/>
                          <a:ea typeface="Calibri"/>
                          <a:cs typeface="Times New Roman"/>
                        </a:rPr>
                        <a:t>, il 4,4% del PIL turistico nazionale e il 20,6% di quello del Mezzogiorno. (</a:t>
                      </a:r>
                      <a:r>
                        <a:rPr lang="it-IT" sz="1200" i="1" dirty="0" smtClean="0">
                          <a:effectLst/>
                          <a:latin typeface="+mn-lt"/>
                          <a:ea typeface="Calibri"/>
                          <a:cs typeface="Times New Roman"/>
                        </a:rPr>
                        <a:t>comparazione con anni precedenti)</a:t>
                      </a:r>
                      <a:endParaRPr lang="it-IT" sz="1200" dirty="0" smtClean="0">
                        <a:effectLst/>
                        <a:latin typeface="+mn-lt"/>
                        <a:ea typeface="Calibri"/>
                        <a:cs typeface="Times New Roman"/>
                      </a:endParaRPr>
                    </a:p>
                  </a:txBody>
                  <a:tcPr/>
                </a:tc>
              </a:tr>
              <a:tr h="594164">
                <a:tc>
                  <a:txBody>
                    <a:bodyPr/>
                    <a:lstStyle/>
                    <a:p>
                      <a:pPr marL="0" marR="0" lvl="0" indent="0" algn="just" defTabSz="914400" rtl="0" eaLnBrk="1" fontAlgn="auto" latinLnBrk="0" hangingPunct="1">
                        <a:lnSpc>
                          <a:spcPct val="115000"/>
                        </a:lnSpc>
                        <a:spcBef>
                          <a:spcPts val="0"/>
                        </a:spcBef>
                        <a:spcAft>
                          <a:spcPts val="300"/>
                        </a:spcAft>
                        <a:buClrTx/>
                        <a:buSzTx/>
                        <a:buFont typeface="Wingdings"/>
                        <a:buNone/>
                        <a:tabLst/>
                        <a:defRPr/>
                      </a:pPr>
                      <a:r>
                        <a:rPr lang="it-IT" sz="1200" dirty="0" smtClean="0">
                          <a:effectLst/>
                          <a:latin typeface="+mn-lt"/>
                          <a:ea typeface="Calibri"/>
                          <a:cs typeface="Times New Roman"/>
                        </a:rPr>
                        <a:t>2.  Il valore aggiunto (3% del valore aggiunto totale della regione) per il comparto alberghi e ristoranti è stimato in oltre 2 miliardi di euro (circa il 20 per cento del valore aggiunto del Mezzogiorno e il 4 per cento di quello dell'Italia). (</a:t>
                      </a:r>
                      <a:r>
                        <a:rPr lang="it-IT" sz="1200" i="1" dirty="0" smtClean="0">
                          <a:effectLst/>
                          <a:latin typeface="+mn-lt"/>
                          <a:ea typeface="Calibri"/>
                          <a:cs typeface="Times New Roman"/>
                        </a:rPr>
                        <a:t>comparazione con anni precedenti)</a:t>
                      </a:r>
                      <a:endParaRPr lang="it-IT" sz="1200" dirty="0" smtClean="0">
                        <a:effectLst/>
                        <a:latin typeface="+mn-lt"/>
                        <a:ea typeface="Calibri"/>
                        <a:cs typeface="Times New Roman"/>
                      </a:endParaRPr>
                    </a:p>
                  </a:txBody>
                  <a:tcPr/>
                </a:tc>
              </a:tr>
              <a:tr h="594164">
                <a:tc>
                  <a:txBody>
                    <a:bodyPr/>
                    <a:lstStyle/>
                    <a:p>
                      <a:pPr marL="0" marR="0" lvl="0" indent="0" algn="just" defTabSz="914400" rtl="0" eaLnBrk="1" fontAlgn="auto" latinLnBrk="0" hangingPunct="1">
                        <a:lnSpc>
                          <a:spcPct val="115000"/>
                        </a:lnSpc>
                        <a:spcBef>
                          <a:spcPts val="0"/>
                        </a:spcBef>
                        <a:spcAft>
                          <a:spcPts val="300"/>
                        </a:spcAft>
                        <a:buClrTx/>
                        <a:buSzTx/>
                        <a:buFont typeface="Wingdings"/>
                        <a:buNone/>
                        <a:tabLst/>
                        <a:defRPr/>
                      </a:pPr>
                      <a:r>
                        <a:rPr lang="it-IT" sz="1200" dirty="0" smtClean="0">
                          <a:effectLst/>
                          <a:latin typeface="+mn-lt"/>
                          <a:ea typeface="Calibri"/>
                          <a:cs typeface="Times New Roman"/>
                        </a:rPr>
                        <a:t>3. Gli occupati nel settore alberghi e ristoranti (circa 55 migliaia di unità pari al 3,6% degli occupati nella regione) rappresentano il </a:t>
                      </a:r>
                      <a:r>
                        <a:rPr lang="it-IT" sz="1200" b="1" dirty="0" smtClean="0">
                          <a:effectLst/>
                          <a:latin typeface="+mn-lt"/>
                          <a:ea typeface="Calibri"/>
                          <a:cs typeface="Times New Roman"/>
                        </a:rPr>
                        <a:t>20,42% degli occupati del Mezzogiorno e il 4,4% dell'Italia. (</a:t>
                      </a:r>
                      <a:r>
                        <a:rPr lang="it-IT" sz="1200" b="1" i="1" dirty="0" smtClean="0">
                          <a:effectLst/>
                          <a:latin typeface="+mn-lt"/>
                          <a:ea typeface="Calibri"/>
                          <a:cs typeface="Times New Roman"/>
                        </a:rPr>
                        <a:t>comparazione con anni precedenti)</a:t>
                      </a:r>
                      <a:endParaRPr lang="it-IT" sz="1200" b="1" dirty="0" smtClean="0">
                        <a:effectLst/>
                        <a:latin typeface="+mn-lt"/>
                        <a:ea typeface="Calibri"/>
                        <a:cs typeface="Times New Roman"/>
                      </a:endParaRPr>
                    </a:p>
                  </a:txBody>
                  <a:tcPr/>
                </a:tc>
              </a:tr>
              <a:tr h="758602">
                <a:tc>
                  <a:txBody>
                    <a:bodyPr/>
                    <a:lstStyle/>
                    <a:p>
                      <a:pPr marL="0" marR="0" lvl="0" indent="0" algn="just" defTabSz="914400" rtl="0" eaLnBrk="1" fontAlgn="auto" latinLnBrk="0" hangingPunct="1">
                        <a:lnSpc>
                          <a:spcPct val="115000"/>
                        </a:lnSpc>
                        <a:spcBef>
                          <a:spcPts val="0"/>
                        </a:spcBef>
                        <a:spcAft>
                          <a:spcPts val="300"/>
                        </a:spcAft>
                        <a:buClrTx/>
                        <a:buSzTx/>
                        <a:buFont typeface="Wingdings"/>
                        <a:buNone/>
                        <a:tabLst/>
                        <a:defRPr/>
                      </a:pPr>
                      <a:r>
                        <a:rPr lang="it-IT" sz="1200" dirty="0" smtClean="0">
                          <a:effectLst/>
                          <a:latin typeface="+mn-lt"/>
                          <a:ea typeface="Calibri"/>
                          <a:cs typeface="Times New Roman"/>
                        </a:rPr>
                        <a:t>4. Gli occupati nelle imprese collegate al settore dei beni e delle attività culturali ammontano a 200mila circa e rappresentano all’incirca un quarto dell’occupazione culturale dell’Obiettivo Convergenza </a:t>
                      </a:r>
                      <a:r>
                        <a:rPr lang="it-IT" sz="1200" b="1" dirty="0" smtClean="0">
                          <a:effectLst/>
                          <a:latin typeface="+mn-lt"/>
                          <a:ea typeface="Calibri"/>
                          <a:cs typeface="Times New Roman"/>
                        </a:rPr>
                        <a:t>e il 5% dell’occupazione culturale a livello nazionale. Solo 26mila operano in settori del dominio culturale in senso stretto (pari all’ 1,8%) </a:t>
                      </a:r>
                      <a:r>
                        <a:rPr lang="it-IT" sz="1200" b="1" i="1" dirty="0" smtClean="0">
                          <a:effectLst/>
                          <a:latin typeface="+mn-lt"/>
                          <a:ea typeface="Calibri"/>
                          <a:cs typeface="Times New Roman"/>
                        </a:rPr>
                        <a:t>(verificare i dati dei settori collegati alla cultura)</a:t>
                      </a:r>
                      <a:endParaRPr lang="it-IT" sz="1200" b="1" dirty="0" smtClean="0">
                        <a:effectLst/>
                        <a:latin typeface="+mn-lt"/>
                        <a:ea typeface="Calibri"/>
                        <a:cs typeface="Times New Roman"/>
                      </a:endParaRPr>
                    </a:p>
                  </a:txBody>
                  <a:tcPr/>
                </a:tc>
              </a:tr>
              <a:tr h="594164">
                <a:tc>
                  <a:txBody>
                    <a:bodyPr/>
                    <a:lstStyle/>
                    <a:p>
                      <a:pPr marL="0" marR="0" lvl="0" indent="0" algn="just" defTabSz="914400" rtl="0" eaLnBrk="1" fontAlgn="auto" latinLnBrk="0" hangingPunct="1">
                        <a:lnSpc>
                          <a:spcPct val="115000"/>
                        </a:lnSpc>
                        <a:spcBef>
                          <a:spcPts val="0"/>
                        </a:spcBef>
                        <a:spcAft>
                          <a:spcPts val="300"/>
                        </a:spcAft>
                        <a:buClrTx/>
                        <a:buSzTx/>
                        <a:buFont typeface="Wingdings"/>
                        <a:buNone/>
                        <a:tabLst/>
                        <a:defRPr/>
                      </a:pPr>
                      <a:r>
                        <a:rPr lang="it-IT" sz="1200" dirty="0" smtClean="0">
                          <a:effectLst/>
                          <a:latin typeface="+mn-lt"/>
                          <a:ea typeface="Calibri"/>
                          <a:cs typeface="Times New Roman"/>
                        </a:rPr>
                        <a:t>5. All’incirca </a:t>
                      </a:r>
                      <a:r>
                        <a:rPr lang="it-IT" sz="1200" b="1" dirty="0" smtClean="0">
                          <a:effectLst/>
                          <a:latin typeface="+mn-lt"/>
                          <a:ea typeface="Calibri"/>
                          <a:cs typeface="Times New Roman"/>
                        </a:rPr>
                        <a:t>il 60% degli occupati nel settore culturale </a:t>
                      </a:r>
                      <a:r>
                        <a:rPr lang="it-IT" sz="1200" dirty="0" smtClean="0">
                          <a:effectLst/>
                          <a:latin typeface="+mn-lt"/>
                          <a:ea typeface="Calibri"/>
                          <a:cs typeface="Times New Roman"/>
                        </a:rPr>
                        <a:t>si concentrano in tre provincie: Palermo, Catania e Messina quelle stesse in cui si concentrano i flussi turistici </a:t>
                      </a:r>
                      <a:r>
                        <a:rPr lang="it-IT" sz="1200" i="1" dirty="0" smtClean="0">
                          <a:effectLst/>
                          <a:latin typeface="+mn-lt"/>
                          <a:ea typeface="Calibri"/>
                          <a:cs typeface="Times New Roman"/>
                        </a:rPr>
                        <a:t>(acquisire dati su turisti culturali)</a:t>
                      </a:r>
                      <a:endParaRPr lang="it-IT" sz="1200" dirty="0" smtClean="0">
                        <a:effectLst/>
                        <a:latin typeface="+mn-lt"/>
                        <a:ea typeface="Calibri"/>
                        <a:cs typeface="Times New Roman"/>
                      </a:endParaRPr>
                    </a:p>
                  </a:txBody>
                  <a:tcPr/>
                </a:tc>
              </a:tr>
              <a:tr h="923040">
                <a:tc>
                  <a:txBody>
                    <a:bodyPr/>
                    <a:lstStyle/>
                    <a:p>
                      <a:pPr marL="0" marR="0" lvl="0" indent="0" algn="just" defTabSz="914400" rtl="0" eaLnBrk="1" fontAlgn="auto" latinLnBrk="0" hangingPunct="1">
                        <a:lnSpc>
                          <a:spcPct val="115000"/>
                        </a:lnSpc>
                        <a:spcBef>
                          <a:spcPts val="0"/>
                        </a:spcBef>
                        <a:spcAft>
                          <a:spcPts val="300"/>
                        </a:spcAft>
                        <a:buClrTx/>
                        <a:buSzTx/>
                        <a:buFont typeface="Wingdings"/>
                        <a:buNone/>
                        <a:tabLst/>
                        <a:defRPr/>
                      </a:pPr>
                      <a:r>
                        <a:rPr lang="it-IT" sz="1200" dirty="0" smtClean="0">
                          <a:effectLst/>
                          <a:latin typeface="+mn-lt"/>
                          <a:ea typeface="Calibri"/>
                          <a:cs typeface="Times New Roman"/>
                        </a:rPr>
                        <a:t>6. La ricchezza economica generata dalle attività (intera filiera della cultura) misurata attraverso il valore aggiunto ammonta a circa 8 miliardi di euro e rappresenta più di un quarto della ricchezza prodotta nelle regioni dell’Obiettivo Convergenza </a:t>
                      </a:r>
                      <a:r>
                        <a:rPr lang="it-IT" sz="1200" b="1" dirty="0" smtClean="0">
                          <a:effectLst/>
                          <a:latin typeface="+mn-lt"/>
                          <a:ea typeface="Calibri"/>
                          <a:cs typeface="Times New Roman"/>
                        </a:rPr>
                        <a:t>ed il 4% di quella generata in Italia. Palermo, Catania e Messina sono le tre realtà territoriali che maggiormente partecipano alla produzione regionale di valore aggiunto ascrivibile alla cultura.</a:t>
                      </a:r>
                    </a:p>
                  </a:txBody>
                  <a:tcPr/>
                </a:tc>
              </a:tr>
            </a:tbl>
          </a:graphicData>
        </a:graphic>
      </p:graphicFrame>
      <p:graphicFrame>
        <p:nvGraphicFramePr>
          <p:cNvPr id="9" name="Diagramma 8"/>
          <p:cNvGraphicFramePr/>
          <p:nvPr>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ma 9"/>
          <p:cNvGraphicFramePr/>
          <p:nvPr>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7505907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ma 1"/>
          <p:cNvGraphicFramePr/>
          <p:nvPr>
            <p:extLst/>
          </p:nvPr>
        </p:nvGraphicFramePr>
        <p:xfrm>
          <a:off x="395536" y="6858000"/>
          <a:ext cx="4572000" cy="3693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ma 6"/>
          <p:cNvGraphicFramePr/>
          <p:nvPr>
            <p:extLst/>
          </p:nvPr>
        </p:nvGraphicFramePr>
        <p:xfrm>
          <a:off x="755576" y="1556792"/>
          <a:ext cx="6768752" cy="489654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ma 7"/>
          <p:cNvGraphicFramePr/>
          <p:nvPr>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0" name="Diagramma 9"/>
          <p:cNvGraphicFramePr/>
          <p:nvPr>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11" name="Rettangolo 10"/>
          <p:cNvSpPr/>
          <p:nvPr/>
        </p:nvSpPr>
        <p:spPr>
          <a:xfrm>
            <a:off x="3419872" y="980728"/>
            <a:ext cx="1857047" cy="369332"/>
          </a:xfrm>
          <a:prstGeom prst="rect">
            <a:avLst/>
          </a:prstGeom>
        </p:spPr>
        <p:txBody>
          <a:bodyPr wrap="none">
            <a:spAutoFit/>
          </a:bodyPr>
          <a:lstStyle/>
          <a:p>
            <a:pPr lvl="0"/>
            <a:r>
              <a:rPr lang="it-IT" b="1" dirty="0"/>
              <a:t>I principali vincoli</a:t>
            </a:r>
            <a:endParaRPr lang="it-IT" dirty="0"/>
          </a:p>
        </p:txBody>
      </p:sp>
    </p:spTree>
    <p:extLst>
      <p:ext uri="{BB962C8B-B14F-4D97-AF65-F5344CB8AC3E}">
        <p14:creationId xmlns:p14="http://schemas.microsoft.com/office/powerpoint/2010/main" val="30340229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ma 1"/>
          <p:cNvGraphicFramePr/>
          <p:nvPr>
            <p:extLst/>
          </p:nvPr>
        </p:nvGraphicFramePr>
        <p:xfrm>
          <a:off x="395536" y="6858000"/>
          <a:ext cx="4572000" cy="3693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ma 6"/>
          <p:cNvGraphicFramePr/>
          <p:nvPr>
            <p:extLst/>
          </p:nvPr>
        </p:nvGraphicFramePr>
        <p:xfrm>
          <a:off x="1115616" y="1988840"/>
          <a:ext cx="7488832" cy="388843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ma 7"/>
          <p:cNvGraphicFramePr/>
          <p:nvPr>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0" name="Diagramma 9"/>
          <p:cNvGraphicFramePr/>
          <p:nvPr>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11" name="Rettangolo 10"/>
          <p:cNvSpPr/>
          <p:nvPr/>
        </p:nvSpPr>
        <p:spPr>
          <a:xfrm>
            <a:off x="2843808" y="1052736"/>
            <a:ext cx="3168352" cy="923330"/>
          </a:xfrm>
          <a:prstGeom prst="rect">
            <a:avLst/>
          </a:prstGeom>
        </p:spPr>
        <p:txBody>
          <a:bodyPr wrap="square">
            <a:spAutoFit/>
          </a:bodyPr>
          <a:lstStyle/>
          <a:p>
            <a:endParaRPr lang="it-IT" dirty="0"/>
          </a:p>
          <a:p>
            <a:pPr lvl="0" algn="ctr"/>
            <a:r>
              <a:rPr lang="it-IT" b="1" dirty="0"/>
              <a:t>I segnali di ripresa</a:t>
            </a:r>
            <a:endParaRPr lang="it-IT" dirty="0"/>
          </a:p>
          <a:p>
            <a:pPr lvl="0"/>
            <a:endParaRPr lang="it-IT" dirty="0"/>
          </a:p>
        </p:txBody>
      </p:sp>
    </p:spTree>
    <p:extLst>
      <p:ext uri="{BB962C8B-B14F-4D97-AF65-F5344CB8AC3E}">
        <p14:creationId xmlns:p14="http://schemas.microsoft.com/office/powerpoint/2010/main" val="16794336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a 4"/>
          <p:cNvGraphicFramePr/>
          <p:nvPr>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ma 6"/>
          <p:cNvGraphicFramePr/>
          <p:nvPr>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9" name="Diagramma 8"/>
          <p:cNvGraphicFramePr/>
          <p:nvPr>
            <p:extLst/>
          </p:nvPr>
        </p:nvGraphicFramePr>
        <p:xfrm>
          <a:off x="337562" y="1988840"/>
          <a:ext cx="4104456" cy="3270411"/>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0" name="Rettangolo 9"/>
          <p:cNvSpPr/>
          <p:nvPr/>
        </p:nvSpPr>
        <p:spPr>
          <a:xfrm>
            <a:off x="2857841" y="915544"/>
            <a:ext cx="3168352" cy="646331"/>
          </a:xfrm>
          <a:prstGeom prst="rect">
            <a:avLst/>
          </a:prstGeom>
        </p:spPr>
        <p:txBody>
          <a:bodyPr wrap="square">
            <a:spAutoFit/>
          </a:bodyPr>
          <a:lstStyle/>
          <a:p>
            <a:endParaRPr lang="it-IT" dirty="0"/>
          </a:p>
          <a:p>
            <a:pPr lvl="0" algn="ctr"/>
            <a:r>
              <a:rPr lang="it-IT" b="1" dirty="0" smtClean="0"/>
              <a:t>Presenza di </a:t>
            </a:r>
            <a:endParaRPr lang="it-IT" b="1" dirty="0"/>
          </a:p>
        </p:txBody>
      </p:sp>
      <p:graphicFrame>
        <p:nvGraphicFramePr>
          <p:cNvPr id="12" name="Diagramma 11"/>
          <p:cNvGraphicFramePr/>
          <p:nvPr>
            <p:extLst/>
          </p:nvPr>
        </p:nvGraphicFramePr>
        <p:xfrm>
          <a:off x="4932040" y="2564904"/>
          <a:ext cx="3888432" cy="3270411"/>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pSp>
        <p:nvGrpSpPr>
          <p:cNvPr id="13" name="Gruppo 12"/>
          <p:cNvGrpSpPr/>
          <p:nvPr/>
        </p:nvGrpSpPr>
        <p:grpSpPr>
          <a:xfrm>
            <a:off x="4965443" y="1875045"/>
            <a:ext cx="3847065" cy="406508"/>
            <a:chOff x="128695" y="11808"/>
            <a:chExt cx="3847065" cy="692229"/>
          </a:xfrm>
        </p:grpSpPr>
        <p:sp>
          <p:nvSpPr>
            <p:cNvPr id="14" name="Rettangolo arrotondato 13"/>
            <p:cNvSpPr/>
            <p:nvPr/>
          </p:nvSpPr>
          <p:spPr>
            <a:xfrm>
              <a:off x="128695" y="11808"/>
              <a:ext cx="3847065" cy="684258"/>
            </a:xfrm>
            <a:prstGeom prst="roundRect">
              <a:avLst/>
            </a:pr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15" name="Rettangolo 14"/>
            <p:cNvSpPr/>
            <p:nvPr/>
          </p:nvSpPr>
          <p:spPr>
            <a:xfrm>
              <a:off x="183491" y="86584"/>
              <a:ext cx="3780259" cy="61745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it-IT" b="1" dirty="0" smtClean="0"/>
                <a:t>5.</a:t>
              </a:r>
              <a:r>
                <a:rPr lang="it-IT" sz="1800" b="1" kern="1200" dirty="0" smtClean="0"/>
                <a:t>ISTITUTI CNR</a:t>
              </a:r>
              <a:endParaRPr lang="it-IT" sz="1800" b="1" kern="1200" dirty="0"/>
            </a:p>
          </p:txBody>
        </p:sp>
      </p:grpSp>
    </p:spTree>
    <p:extLst>
      <p:ext uri="{BB962C8B-B14F-4D97-AF65-F5344CB8AC3E}">
        <p14:creationId xmlns:p14="http://schemas.microsoft.com/office/powerpoint/2010/main" val="32326821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la 1"/>
          <p:cNvGraphicFramePr>
            <a:graphicFrameLocks noGrp="1"/>
          </p:cNvGraphicFramePr>
          <p:nvPr>
            <p:extLst/>
          </p:nvPr>
        </p:nvGraphicFramePr>
        <p:xfrm>
          <a:off x="539552" y="1628801"/>
          <a:ext cx="8064896" cy="3821616"/>
        </p:xfrm>
        <a:graphic>
          <a:graphicData uri="http://schemas.openxmlformats.org/drawingml/2006/table">
            <a:tbl>
              <a:tblPr firstRow="1" bandRow="1">
                <a:tableStyleId>{93296810-A885-4BE3-A3E7-6D5BEEA58F35}</a:tableStyleId>
              </a:tblPr>
              <a:tblGrid>
                <a:gridCol w="8064896"/>
              </a:tblGrid>
              <a:tr h="83685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dirty="0" smtClean="0"/>
                        <a:t>Competenze </a:t>
                      </a:r>
                      <a:r>
                        <a:rPr lang="it-IT" sz="1800" b="1" kern="1200" dirty="0" smtClean="0">
                          <a:solidFill>
                            <a:schemeClr val="lt1"/>
                          </a:solidFill>
                          <a:effectLst/>
                          <a:latin typeface="+mn-lt"/>
                          <a:ea typeface="+mn-ea"/>
                          <a:cs typeface="+mn-cs"/>
                        </a:rPr>
                        <a:t>del sistema produttivo </a:t>
                      </a:r>
                    </a:p>
                    <a:p>
                      <a:pPr marL="0" marR="0" indent="0" algn="l" defTabSz="914400" rtl="0" eaLnBrk="1" fontAlgn="auto" latinLnBrk="0" hangingPunct="1">
                        <a:lnSpc>
                          <a:spcPct val="100000"/>
                        </a:lnSpc>
                        <a:spcBef>
                          <a:spcPts val="0"/>
                        </a:spcBef>
                        <a:spcAft>
                          <a:spcPts val="0"/>
                        </a:spcAft>
                        <a:buClrTx/>
                        <a:buSzTx/>
                        <a:buFontTx/>
                        <a:buNone/>
                        <a:tabLst/>
                        <a:defRPr/>
                      </a:pPr>
                      <a:r>
                        <a:rPr lang="it-IT" sz="1400" b="1" i="1" kern="1200" dirty="0" smtClean="0">
                          <a:solidFill>
                            <a:srgbClr val="FFFF00"/>
                          </a:solidFill>
                          <a:effectLst/>
                          <a:latin typeface="+mn-lt"/>
                          <a:ea typeface="+mn-ea"/>
                          <a:cs typeface="+mn-cs"/>
                        </a:rPr>
                        <a:t>(acquisire dati su scoperte imprenditoriali, progetti di frontiera, progetti intersettoriali, ecc.)</a:t>
                      </a:r>
                      <a:endParaRPr lang="it-IT" sz="1400" b="1" kern="1200" dirty="0" smtClean="0">
                        <a:solidFill>
                          <a:srgbClr val="FFFF00"/>
                        </a:solidFill>
                        <a:effectLst/>
                        <a:latin typeface="+mn-lt"/>
                        <a:ea typeface="+mn-ea"/>
                        <a:cs typeface="+mn-cs"/>
                      </a:endParaRPr>
                    </a:p>
                  </a:txBody>
                  <a:tcPr/>
                </a:tc>
              </a:tr>
              <a:tr h="531300">
                <a:tc>
                  <a:txBody>
                    <a:bodyPr/>
                    <a:lstStyle/>
                    <a:p>
                      <a:pPr marL="228600" marR="0" lvl="0" indent="-228600" algn="just" defTabSz="914400" rtl="0" eaLnBrk="1" fontAlgn="auto" latinLnBrk="0" hangingPunct="1">
                        <a:lnSpc>
                          <a:spcPct val="115000"/>
                        </a:lnSpc>
                        <a:spcBef>
                          <a:spcPts val="0"/>
                        </a:spcBef>
                        <a:spcAft>
                          <a:spcPts val="300"/>
                        </a:spcAft>
                        <a:buClrTx/>
                        <a:buSzTx/>
                        <a:buFont typeface="Wingdings"/>
                        <a:buAutoNum type="arabicPeriod"/>
                        <a:tabLst/>
                        <a:defRPr/>
                      </a:pPr>
                      <a:r>
                        <a:rPr lang="it-IT" sz="1200" b="1" kern="1200" dirty="0" smtClean="0">
                          <a:solidFill>
                            <a:schemeClr val="dk1"/>
                          </a:solidFill>
                          <a:effectLst/>
                          <a:latin typeface="+mn-lt"/>
                          <a:ea typeface="Calibri"/>
                          <a:cs typeface="Times New Roman"/>
                        </a:rPr>
                        <a:t>Le attività economiche collegate al settore dei beni e delle attività culturali nel 2010 ammontano in Sicilia a 74mila e rappresentano il 7% delle attività culturali a livello nazionale ed il 22% del Mezzogiorno</a:t>
                      </a:r>
                    </a:p>
                  </a:txBody>
                  <a:tcPr/>
                </a:tc>
              </a:tr>
              <a:tr h="488558">
                <a:tc>
                  <a:txBody>
                    <a:bodyPr/>
                    <a:lstStyle/>
                    <a:p>
                      <a:pPr marL="0" marR="0" lvl="0" indent="0" algn="just" defTabSz="914400" rtl="0" eaLnBrk="1" fontAlgn="auto" latinLnBrk="0" hangingPunct="1">
                        <a:lnSpc>
                          <a:spcPct val="115000"/>
                        </a:lnSpc>
                        <a:spcBef>
                          <a:spcPts val="0"/>
                        </a:spcBef>
                        <a:spcAft>
                          <a:spcPts val="300"/>
                        </a:spcAft>
                        <a:buClrTx/>
                        <a:buSzTx/>
                        <a:buFont typeface="Wingdings"/>
                        <a:buNone/>
                        <a:tabLst/>
                        <a:defRPr/>
                      </a:pPr>
                      <a:r>
                        <a:rPr lang="it-IT" sz="1200" b="1" kern="1200" dirty="0" smtClean="0">
                          <a:solidFill>
                            <a:schemeClr val="dk1"/>
                          </a:solidFill>
                          <a:effectLst/>
                          <a:latin typeface="+mn-lt"/>
                          <a:ea typeface="Calibri"/>
                          <a:cs typeface="Times New Roman"/>
                        </a:rPr>
                        <a:t>2. All’incirca la metà di tali attività afferisce al dominio che incorpora le imprese del settore turistico e dei trasporti; il 29% circa ai settori collegati ed il restante 20% al settore culturale in senso stretto</a:t>
                      </a:r>
                    </a:p>
                  </a:txBody>
                  <a:tcPr/>
                </a:tc>
              </a:tr>
              <a:tr h="1068933">
                <a:tc>
                  <a:txBody>
                    <a:bodyPr/>
                    <a:lstStyle/>
                    <a:p>
                      <a:pPr marL="0" marR="0" lvl="0" indent="0" algn="just" defTabSz="914400" rtl="0" eaLnBrk="1" fontAlgn="auto" latinLnBrk="0" hangingPunct="1">
                        <a:lnSpc>
                          <a:spcPct val="115000"/>
                        </a:lnSpc>
                        <a:spcBef>
                          <a:spcPts val="0"/>
                        </a:spcBef>
                        <a:spcAft>
                          <a:spcPts val="300"/>
                        </a:spcAft>
                        <a:buClrTx/>
                        <a:buSzTx/>
                        <a:buFont typeface="Wingdings"/>
                        <a:buNone/>
                        <a:tabLst/>
                        <a:defRPr/>
                      </a:pPr>
                      <a:r>
                        <a:rPr lang="it-IT" sz="1200" b="1" dirty="0" smtClean="0">
                          <a:effectLst/>
                          <a:latin typeface="+mn-lt"/>
                          <a:ea typeface="Calibri"/>
                          <a:cs typeface="Times New Roman"/>
                        </a:rPr>
                        <a:t>3. Palermo e Catania si contraddistinguono per una presenza significativa di imprese che operano nel settore strettamente culturale o in settori ad esso connessi in modo diretto o trasversale. Delle 14mila imprese relative al dominio strettamente culturale all’incirca un quarto sono localizzate rispettivamente nelle due realtà; delle 39mila imprese dei settori collegati poco più di 8mila (pari al 21%) sono situate nel capoluogo siciliano e un quinto nella provincia catanese, delle 21mila imprese dei settori trasversali 8 mila sono complessivamente le attività presenti nelle due provincie </a:t>
                      </a:r>
                    </a:p>
                  </a:txBody>
                  <a:tcPr/>
                </a:tc>
              </a:tr>
              <a:tr h="226284">
                <a:tc>
                  <a:txBody>
                    <a:bodyPr/>
                    <a:lstStyle/>
                    <a:p>
                      <a:pPr marL="0" marR="0" lvl="0" indent="0" algn="just" defTabSz="914400" rtl="0" eaLnBrk="1" fontAlgn="auto" latinLnBrk="0" hangingPunct="1">
                        <a:lnSpc>
                          <a:spcPct val="115000"/>
                        </a:lnSpc>
                        <a:spcBef>
                          <a:spcPts val="0"/>
                        </a:spcBef>
                        <a:spcAft>
                          <a:spcPts val="300"/>
                        </a:spcAft>
                        <a:buClrTx/>
                        <a:buSzTx/>
                        <a:buFont typeface="Wingdings"/>
                        <a:buNone/>
                        <a:tabLst/>
                        <a:defRPr/>
                      </a:pPr>
                      <a:r>
                        <a:rPr lang="it-IT" sz="1200" b="1" dirty="0" smtClean="0">
                          <a:effectLst/>
                          <a:latin typeface="+mn-lt"/>
                          <a:ea typeface="Calibri"/>
                          <a:cs typeface="Times New Roman"/>
                        </a:rPr>
                        <a:t>4. Le imprese artigiane rappresentano poco più di un terzo delle imprese attive nel settore culturale in Sicilia</a:t>
                      </a:r>
                    </a:p>
                  </a:txBody>
                  <a:tcPr/>
                </a:tc>
              </a:tr>
              <a:tr h="496649">
                <a:tc>
                  <a:txBody>
                    <a:bodyPr/>
                    <a:lstStyle/>
                    <a:p>
                      <a:pPr lvl="0"/>
                      <a:r>
                        <a:rPr lang="it-IT" sz="1200" b="1" dirty="0" smtClean="0">
                          <a:effectLst/>
                          <a:latin typeface="+mn-lt"/>
                          <a:ea typeface="Calibri"/>
                          <a:cs typeface="Times New Roman"/>
                        </a:rPr>
                        <a:t>5. </a:t>
                      </a:r>
                      <a:r>
                        <a:rPr lang="it-IT" sz="1200" b="1" kern="1200" dirty="0" smtClean="0">
                          <a:solidFill>
                            <a:schemeClr val="dk1"/>
                          </a:solidFill>
                          <a:effectLst/>
                          <a:latin typeface="+mn-lt"/>
                          <a:ea typeface="+mn-ea"/>
                          <a:cs typeface="+mn-cs"/>
                        </a:rPr>
                        <a:t>Un quarto delle imprese è riferibile a “Libri e Stampa” e il 18% a “Audiovisivi e media interattivi”</a:t>
                      </a:r>
                      <a:endParaRPr lang="it-IT" sz="1200" b="1" kern="1200" dirty="0">
                        <a:solidFill>
                          <a:schemeClr val="dk1"/>
                        </a:solidFill>
                        <a:effectLst/>
                        <a:latin typeface="+mn-lt"/>
                        <a:ea typeface="+mn-ea"/>
                        <a:cs typeface="+mn-cs"/>
                      </a:endParaRPr>
                    </a:p>
                  </a:txBody>
                  <a:tcPr/>
                </a:tc>
              </a:tr>
            </a:tbl>
          </a:graphicData>
        </a:graphic>
      </p:graphicFrame>
      <p:graphicFrame>
        <p:nvGraphicFramePr>
          <p:cNvPr id="3" name="Diagramma 2"/>
          <p:cNvGraphicFramePr/>
          <p:nvPr>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ma 3"/>
          <p:cNvGraphicFramePr/>
          <p:nvPr>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6" name="Diagramma 5"/>
          <p:cNvGraphicFramePr/>
          <p:nvPr>
            <p:extLst/>
          </p:nvPr>
        </p:nvGraphicFramePr>
        <p:xfrm>
          <a:off x="755576" y="5589240"/>
          <a:ext cx="7848872" cy="36933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3484039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ma 2"/>
          <p:cNvGraphicFramePr/>
          <p:nvPr>
            <p:extLst/>
          </p:nvPr>
        </p:nvGraphicFramePr>
        <p:xfrm>
          <a:off x="539552" y="2708920"/>
          <a:ext cx="5472608" cy="11521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ma 3"/>
          <p:cNvGraphicFramePr/>
          <p:nvPr>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ma 10"/>
          <p:cNvGraphicFramePr/>
          <p:nvPr>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3" name="Diagramma 12"/>
          <p:cNvGraphicFramePr/>
          <p:nvPr>
            <p:extLst/>
          </p:nvPr>
        </p:nvGraphicFramePr>
        <p:xfrm>
          <a:off x="2699792" y="4077072"/>
          <a:ext cx="5688632" cy="1514202"/>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14" name="Rettangolo 13"/>
          <p:cNvSpPr/>
          <p:nvPr/>
        </p:nvSpPr>
        <p:spPr>
          <a:xfrm>
            <a:off x="2159999" y="1758995"/>
            <a:ext cx="5112568" cy="369332"/>
          </a:xfrm>
          <a:prstGeom prst="rect">
            <a:avLst/>
          </a:prstGeom>
        </p:spPr>
        <p:txBody>
          <a:bodyPr wrap="square">
            <a:spAutoFit/>
          </a:bodyPr>
          <a:lstStyle/>
          <a:p>
            <a:pPr algn="ctr"/>
            <a:r>
              <a:rPr lang="it-IT" b="1" dirty="0" smtClean="0"/>
              <a:t>INDUSTRIE CLUTURALI E CREATIVE</a:t>
            </a:r>
            <a:endParaRPr lang="it-IT" b="1" dirty="0"/>
          </a:p>
        </p:txBody>
      </p:sp>
    </p:spTree>
    <p:extLst>
      <p:ext uri="{BB962C8B-B14F-4D97-AF65-F5344CB8AC3E}">
        <p14:creationId xmlns:p14="http://schemas.microsoft.com/office/powerpoint/2010/main" val="5618876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ma 6"/>
          <p:cNvGraphicFramePr/>
          <p:nvPr>
            <p:extLst>
              <p:ext uri="{D42A27DB-BD31-4B8C-83A1-F6EECF244321}">
                <p14:modId xmlns:p14="http://schemas.microsoft.com/office/powerpoint/2010/main" val="333043195"/>
              </p:ext>
            </p:extLst>
          </p:nvPr>
        </p:nvGraphicFramePr>
        <p:xfrm>
          <a:off x="1115616" y="764704"/>
          <a:ext cx="7272808"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1" name="Diagramma 10"/>
          <p:cNvGraphicFramePr/>
          <p:nvPr>
            <p:extLst>
              <p:ext uri="{D42A27DB-BD31-4B8C-83A1-F6EECF244321}">
                <p14:modId xmlns:p14="http://schemas.microsoft.com/office/powerpoint/2010/main" val="4280909205"/>
              </p:ext>
            </p:extLst>
          </p:nvPr>
        </p:nvGraphicFramePr>
        <p:xfrm>
          <a:off x="107504" y="1484784"/>
          <a:ext cx="8928992" cy="49685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7141791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ma 3"/>
          <p:cNvGraphicFramePr/>
          <p:nvPr>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ma 5"/>
          <p:cNvGraphicFramePr/>
          <p:nvPr>
            <p:extLst/>
          </p:nvPr>
        </p:nvGraphicFramePr>
        <p:xfrm>
          <a:off x="1187624" y="2276872"/>
          <a:ext cx="4590256" cy="19297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ma 7"/>
          <p:cNvGraphicFramePr/>
          <p:nvPr>
            <p:extLst/>
          </p:nvPr>
        </p:nvGraphicFramePr>
        <p:xfrm>
          <a:off x="3995936" y="4365104"/>
          <a:ext cx="4572000" cy="175432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0" name="Diagramma 9"/>
          <p:cNvGraphicFramePr/>
          <p:nvPr>
            <p:extLst/>
          </p:nvPr>
        </p:nvGraphicFramePr>
        <p:xfrm>
          <a:off x="107504" y="692696"/>
          <a:ext cx="1872208" cy="648072"/>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17" name="Rettangolo 16"/>
          <p:cNvSpPr/>
          <p:nvPr/>
        </p:nvSpPr>
        <p:spPr>
          <a:xfrm>
            <a:off x="1979712" y="1598698"/>
            <a:ext cx="4680519" cy="369332"/>
          </a:xfrm>
          <a:prstGeom prst="rect">
            <a:avLst/>
          </a:prstGeom>
        </p:spPr>
        <p:txBody>
          <a:bodyPr wrap="square">
            <a:spAutoFit/>
          </a:bodyPr>
          <a:lstStyle/>
          <a:p>
            <a:pPr lvl="0" algn="ctr"/>
            <a:r>
              <a:rPr lang="it-IT" b="1" dirty="0" smtClean="0"/>
              <a:t>Aspetti generali</a:t>
            </a:r>
            <a:endParaRPr lang="it-IT" dirty="0"/>
          </a:p>
        </p:txBody>
      </p:sp>
    </p:spTree>
    <p:extLst>
      <p:ext uri="{BB962C8B-B14F-4D97-AF65-F5344CB8AC3E}">
        <p14:creationId xmlns:p14="http://schemas.microsoft.com/office/powerpoint/2010/main" val="15679611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ma 3"/>
          <p:cNvGraphicFramePr/>
          <p:nvPr>
            <p:extLst/>
          </p:nvPr>
        </p:nvGraphicFramePr>
        <p:xfrm>
          <a:off x="467544" y="1988840"/>
          <a:ext cx="3816424" cy="19442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ma 5"/>
          <p:cNvGraphicFramePr/>
          <p:nvPr>
            <p:extLst/>
          </p:nvPr>
        </p:nvGraphicFramePr>
        <p:xfrm>
          <a:off x="2555776" y="3933056"/>
          <a:ext cx="6192688" cy="264629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Diagramma 10"/>
          <p:cNvGraphicFramePr/>
          <p:nvPr>
            <p:extLst/>
          </p:nvPr>
        </p:nvGraphicFramePr>
        <p:xfrm>
          <a:off x="107504" y="692696"/>
          <a:ext cx="1872208" cy="64807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5" name="Diagramma 14"/>
          <p:cNvGraphicFramePr/>
          <p:nvPr>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18" name="Freccia in giù 17"/>
          <p:cNvSpPr/>
          <p:nvPr/>
        </p:nvSpPr>
        <p:spPr>
          <a:xfrm rot="2179552">
            <a:off x="6559171" y="2110251"/>
            <a:ext cx="504056" cy="1769082"/>
          </a:xfrm>
          <a:prstGeom prst="downArrow">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it-IT"/>
          </a:p>
        </p:txBody>
      </p:sp>
      <p:sp>
        <p:nvSpPr>
          <p:cNvPr id="19" name="CasellaDiTesto 18"/>
          <p:cNvSpPr txBox="1"/>
          <p:nvPr/>
        </p:nvSpPr>
        <p:spPr>
          <a:xfrm>
            <a:off x="2627784" y="1268760"/>
            <a:ext cx="3168352" cy="369332"/>
          </a:xfrm>
          <a:prstGeom prst="rect">
            <a:avLst/>
          </a:prstGeom>
          <a:noFill/>
        </p:spPr>
        <p:txBody>
          <a:bodyPr wrap="square" rtlCol="0">
            <a:spAutoFit/>
          </a:bodyPr>
          <a:lstStyle/>
          <a:p>
            <a:pPr algn="ctr"/>
            <a:r>
              <a:rPr lang="it-IT" b="1" dirty="0" smtClean="0"/>
              <a:t>INNOVARE</a:t>
            </a:r>
            <a:endParaRPr lang="it-IT" b="1" dirty="0"/>
          </a:p>
        </p:txBody>
      </p:sp>
    </p:spTree>
    <p:extLst>
      <p:ext uri="{BB962C8B-B14F-4D97-AF65-F5344CB8AC3E}">
        <p14:creationId xmlns:p14="http://schemas.microsoft.com/office/powerpoint/2010/main" val="10544915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ma 8"/>
          <p:cNvGraphicFramePr/>
          <p:nvPr>
            <p:extLst/>
          </p:nvPr>
        </p:nvGraphicFramePr>
        <p:xfrm>
          <a:off x="1187624" y="1988840"/>
          <a:ext cx="7272808" cy="46085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ttangolo 3"/>
          <p:cNvSpPr/>
          <p:nvPr/>
        </p:nvSpPr>
        <p:spPr>
          <a:xfrm>
            <a:off x="2699792" y="1604525"/>
            <a:ext cx="4004494" cy="369332"/>
          </a:xfrm>
          <a:prstGeom prst="rect">
            <a:avLst/>
          </a:prstGeom>
        </p:spPr>
        <p:txBody>
          <a:bodyPr wrap="none">
            <a:spAutoFit/>
          </a:bodyPr>
          <a:lstStyle/>
          <a:p>
            <a:pPr lvl="0"/>
            <a:r>
              <a:rPr lang="it-IT" b="1" dirty="0"/>
              <a:t>Per innovare l’offerta turistico-culturale </a:t>
            </a:r>
            <a:endParaRPr lang="it-IT" dirty="0"/>
          </a:p>
        </p:txBody>
      </p:sp>
      <p:graphicFrame>
        <p:nvGraphicFramePr>
          <p:cNvPr id="8" name="Diagramma 7"/>
          <p:cNvGraphicFramePr/>
          <p:nvPr>
            <p:extLst/>
          </p:nvPr>
        </p:nvGraphicFramePr>
        <p:xfrm>
          <a:off x="107504" y="692696"/>
          <a:ext cx="1872208" cy="6480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10" name="Gruppo 9"/>
          <p:cNvGrpSpPr/>
          <p:nvPr/>
        </p:nvGrpSpPr>
        <p:grpSpPr>
          <a:xfrm>
            <a:off x="57523" y="661338"/>
            <a:ext cx="8712968" cy="792088"/>
            <a:chOff x="107504" y="692696"/>
            <a:chExt cx="8928992" cy="720080"/>
          </a:xfrm>
        </p:grpSpPr>
        <p:graphicFrame>
          <p:nvGraphicFramePr>
            <p:cNvPr id="11" name="Diagramma 10"/>
            <p:cNvGraphicFramePr/>
            <p:nvPr>
              <p:extLst/>
            </p:nvPr>
          </p:nvGraphicFramePr>
          <p:xfrm>
            <a:off x="6588224" y="692696"/>
            <a:ext cx="2448272" cy="72008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2" name="Diagramma 11"/>
            <p:cNvGraphicFramePr/>
            <p:nvPr>
              <p:extLst/>
            </p:nvPr>
          </p:nvGraphicFramePr>
          <p:xfrm>
            <a:off x="107504" y="692696"/>
            <a:ext cx="1872208" cy="648072"/>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13" name="Diagramma 12"/>
            <p:cNvGraphicFramePr/>
            <p:nvPr>
              <p:extLst/>
            </p:nvPr>
          </p:nvGraphicFramePr>
          <p:xfrm>
            <a:off x="2195736" y="692696"/>
            <a:ext cx="1872208" cy="648072"/>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aphicFrame>
          <p:nvGraphicFramePr>
            <p:cNvPr id="14" name="Diagramma 13"/>
            <p:cNvGraphicFramePr/>
            <p:nvPr>
              <p:extLst/>
            </p:nvPr>
          </p:nvGraphicFramePr>
          <p:xfrm>
            <a:off x="4139953" y="692696"/>
            <a:ext cx="2392786" cy="648072"/>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grpSp>
    </p:spTree>
    <p:extLst>
      <p:ext uri="{BB962C8B-B14F-4D97-AF65-F5344CB8AC3E}">
        <p14:creationId xmlns:p14="http://schemas.microsoft.com/office/powerpoint/2010/main" val="5310718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ma 8"/>
          <p:cNvGraphicFramePr/>
          <p:nvPr>
            <p:extLst/>
          </p:nvPr>
        </p:nvGraphicFramePr>
        <p:xfrm>
          <a:off x="1403648" y="2348880"/>
          <a:ext cx="6984776" cy="30243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ttangolo 3"/>
          <p:cNvSpPr/>
          <p:nvPr/>
        </p:nvSpPr>
        <p:spPr>
          <a:xfrm>
            <a:off x="2699792" y="1712971"/>
            <a:ext cx="4004494" cy="369332"/>
          </a:xfrm>
          <a:prstGeom prst="rect">
            <a:avLst/>
          </a:prstGeom>
        </p:spPr>
        <p:txBody>
          <a:bodyPr wrap="none">
            <a:spAutoFit/>
          </a:bodyPr>
          <a:lstStyle/>
          <a:p>
            <a:pPr lvl="0"/>
            <a:r>
              <a:rPr lang="it-IT" b="1" dirty="0"/>
              <a:t>Per innovare l’offerta turistico-culturale </a:t>
            </a:r>
            <a:endParaRPr lang="it-IT" dirty="0"/>
          </a:p>
        </p:txBody>
      </p:sp>
      <p:grpSp>
        <p:nvGrpSpPr>
          <p:cNvPr id="5" name="Gruppo 4"/>
          <p:cNvGrpSpPr/>
          <p:nvPr/>
        </p:nvGrpSpPr>
        <p:grpSpPr>
          <a:xfrm>
            <a:off x="107504" y="692696"/>
            <a:ext cx="8712968" cy="792088"/>
            <a:chOff x="107504" y="692696"/>
            <a:chExt cx="8928992" cy="720080"/>
          </a:xfrm>
        </p:grpSpPr>
        <p:graphicFrame>
          <p:nvGraphicFramePr>
            <p:cNvPr id="2" name="Diagramma 1"/>
            <p:cNvGraphicFramePr/>
            <p:nvPr>
              <p:extLst/>
            </p:nvPr>
          </p:nvGraphicFramePr>
          <p:xfrm>
            <a:off x="6588224" y="692696"/>
            <a:ext cx="2448272"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ma 7"/>
            <p:cNvGraphicFramePr/>
            <p:nvPr>
              <p:extLst/>
            </p:nvPr>
          </p:nvGraphicFramePr>
          <p:xfrm>
            <a:off x="107504" y="692696"/>
            <a:ext cx="1872208" cy="64807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7" name="Diagramma 6"/>
            <p:cNvGraphicFramePr/>
            <p:nvPr>
              <p:extLst/>
            </p:nvPr>
          </p:nvGraphicFramePr>
          <p:xfrm>
            <a:off x="2195736" y="692696"/>
            <a:ext cx="1872208" cy="648072"/>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10" name="Diagramma 9"/>
            <p:cNvGraphicFramePr/>
            <p:nvPr>
              <p:extLst/>
            </p:nvPr>
          </p:nvGraphicFramePr>
          <p:xfrm>
            <a:off x="4139953" y="692696"/>
            <a:ext cx="2392786" cy="648072"/>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pSp>
    </p:spTree>
    <p:extLst>
      <p:ext uri="{BB962C8B-B14F-4D97-AF65-F5344CB8AC3E}">
        <p14:creationId xmlns:p14="http://schemas.microsoft.com/office/powerpoint/2010/main" val="3475258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ma 7"/>
          <p:cNvGraphicFramePr/>
          <p:nvPr>
            <p:extLst/>
          </p:nvPr>
        </p:nvGraphicFramePr>
        <p:xfrm>
          <a:off x="1187624" y="2204864"/>
          <a:ext cx="6912768" cy="35858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 name="Gruppo 2"/>
          <p:cNvGrpSpPr/>
          <p:nvPr/>
        </p:nvGrpSpPr>
        <p:grpSpPr>
          <a:xfrm>
            <a:off x="107504" y="692696"/>
            <a:ext cx="8712968" cy="792088"/>
            <a:chOff x="107504" y="692696"/>
            <a:chExt cx="8928992" cy="720080"/>
          </a:xfrm>
        </p:grpSpPr>
        <p:graphicFrame>
          <p:nvGraphicFramePr>
            <p:cNvPr id="4" name="Diagramma 3"/>
            <p:cNvGraphicFramePr/>
            <p:nvPr>
              <p:extLst/>
            </p:nvPr>
          </p:nvGraphicFramePr>
          <p:xfrm>
            <a:off x="6588224" y="692696"/>
            <a:ext cx="2448272"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5" name="Diagramma 4"/>
            <p:cNvGraphicFramePr/>
            <p:nvPr>
              <p:extLst/>
            </p:nvPr>
          </p:nvGraphicFramePr>
          <p:xfrm>
            <a:off x="107504" y="692696"/>
            <a:ext cx="1872208" cy="64807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6" name="Diagramma 5"/>
            <p:cNvGraphicFramePr/>
            <p:nvPr>
              <p:extLst/>
            </p:nvPr>
          </p:nvGraphicFramePr>
          <p:xfrm>
            <a:off x="2195736" y="692696"/>
            <a:ext cx="1872208" cy="648072"/>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7" name="Diagramma 6"/>
            <p:cNvGraphicFramePr/>
            <p:nvPr>
              <p:extLst/>
            </p:nvPr>
          </p:nvGraphicFramePr>
          <p:xfrm>
            <a:off x="4139953" y="692696"/>
            <a:ext cx="2392786" cy="648072"/>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pSp>
    </p:spTree>
    <p:extLst>
      <p:ext uri="{BB962C8B-B14F-4D97-AF65-F5344CB8AC3E}">
        <p14:creationId xmlns:p14="http://schemas.microsoft.com/office/powerpoint/2010/main" val="36773772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ttangolo 27"/>
          <p:cNvSpPr/>
          <p:nvPr/>
        </p:nvSpPr>
        <p:spPr>
          <a:xfrm>
            <a:off x="0" y="812431"/>
            <a:ext cx="9036496" cy="1569660"/>
          </a:xfrm>
          <a:prstGeom prst="rect">
            <a:avLst/>
          </a:prstGeom>
        </p:spPr>
        <p:txBody>
          <a:bodyPr wrap="square">
            <a:spAutoFit/>
          </a:bodyPr>
          <a:lstStyle/>
          <a:p>
            <a:r>
              <a:rPr lang="it-IT" sz="3200" b="1" dirty="0">
                <a:solidFill>
                  <a:schemeClr val="accent1">
                    <a:lumMod val="75000"/>
                  </a:schemeClr>
                </a:solidFill>
              </a:rPr>
              <a:t>La condivisione del piano di lavoro per la raccolta dei </a:t>
            </a:r>
            <a:r>
              <a:rPr lang="it-IT" sz="3200" b="1" dirty="0" smtClean="0">
                <a:solidFill>
                  <a:schemeClr val="accent1">
                    <a:lumMod val="75000"/>
                  </a:schemeClr>
                </a:solidFill>
              </a:rPr>
              <a:t>contributi (1)  </a:t>
            </a:r>
            <a:r>
              <a:rPr lang="it-IT" sz="3200" dirty="0"/>
              <a:t/>
            </a:r>
            <a:br>
              <a:rPr lang="it-IT" sz="3200" dirty="0"/>
            </a:br>
            <a:endParaRPr lang="it-IT" sz="3200" dirty="0"/>
          </a:p>
        </p:txBody>
      </p:sp>
      <p:graphicFrame>
        <p:nvGraphicFramePr>
          <p:cNvPr id="2" name="Diagramma 1"/>
          <p:cNvGraphicFramePr/>
          <p:nvPr>
            <p:extLst>
              <p:ext uri="{D42A27DB-BD31-4B8C-83A1-F6EECF244321}">
                <p14:modId xmlns:p14="http://schemas.microsoft.com/office/powerpoint/2010/main" val="1213970318"/>
              </p:ext>
            </p:extLst>
          </p:nvPr>
        </p:nvGraphicFramePr>
        <p:xfrm>
          <a:off x="94936" y="1589221"/>
          <a:ext cx="8928992" cy="48403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41512750"/>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ttangolo 27"/>
          <p:cNvSpPr/>
          <p:nvPr/>
        </p:nvSpPr>
        <p:spPr>
          <a:xfrm>
            <a:off x="0" y="812431"/>
            <a:ext cx="9036496" cy="1569660"/>
          </a:xfrm>
          <a:prstGeom prst="rect">
            <a:avLst/>
          </a:prstGeom>
        </p:spPr>
        <p:txBody>
          <a:bodyPr wrap="square">
            <a:spAutoFit/>
          </a:bodyPr>
          <a:lstStyle/>
          <a:p>
            <a:r>
              <a:rPr lang="it-IT" sz="3200" b="1" dirty="0">
                <a:solidFill>
                  <a:schemeClr val="accent1">
                    <a:lumMod val="75000"/>
                  </a:schemeClr>
                </a:solidFill>
              </a:rPr>
              <a:t>La condivisione del piano di lavoro per la raccolta dei </a:t>
            </a:r>
            <a:r>
              <a:rPr lang="it-IT" sz="3200" b="1" dirty="0" smtClean="0">
                <a:solidFill>
                  <a:schemeClr val="accent1">
                    <a:lumMod val="75000"/>
                  </a:schemeClr>
                </a:solidFill>
              </a:rPr>
              <a:t>contributi (2)  </a:t>
            </a:r>
            <a:r>
              <a:rPr lang="it-IT" sz="3200" dirty="0"/>
              <a:t/>
            </a:r>
            <a:br>
              <a:rPr lang="it-IT" sz="3200" dirty="0"/>
            </a:br>
            <a:endParaRPr lang="it-IT" sz="3200" dirty="0"/>
          </a:p>
        </p:txBody>
      </p:sp>
      <p:graphicFrame>
        <p:nvGraphicFramePr>
          <p:cNvPr id="2" name="Diagramma 1"/>
          <p:cNvGraphicFramePr/>
          <p:nvPr>
            <p:extLst>
              <p:ext uri="{D42A27DB-BD31-4B8C-83A1-F6EECF244321}">
                <p14:modId xmlns:p14="http://schemas.microsoft.com/office/powerpoint/2010/main" val="2443543690"/>
              </p:ext>
            </p:extLst>
          </p:nvPr>
        </p:nvGraphicFramePr>
        <p:xfrm>
          <a:off x="90376" y="2132856"/>
          <a:ext cx="8928992" cy="41440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02903278"/>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1" name="Immagine 8"/>
          <p:cNvPicPr>
            <a:picLocks noChangeAspect="1"/>
          </p:cNvPicPr>
          <p:nvPr/>
        </p:nvPicPr>
        <p:blipFill>
          <a:blip r:embed="rId2" cstate="print"/>
          <a:srcRect/>
          <a:stretch>
            <a:fillRect/>
          </a:stretch>
        </p:blipFill>
        <p:spPr bwMode="auto">
          <a:xfrm>
            <a:off x="825500" y="2349500"/>
            <a:ext cx="7145338" cy="4016375"/>
          </a:xfrm>
          <a:prstGeom prst="rect">
            <a:avLst/>
          </a:prstGeom>
          <a:noFill/>
          <a:ln w="9525">
            <a:noFill/>
            <a:miter lim="800000"/>
            <a:headEnd/>
            <a:tailEnd/>
          </a:ln>
        </p:spPr>
      </p:pic>
      <p:sp>
        <p:nvSpPr>
          <p:cNvPr id="40962" name="Rectangle 7"/>
          <p:cNvSpPr>
            <a:spLocks noGrp="1" noChangeArrowheads="1"/>
          </p:cNvSpPr>
          <p:nvPr>
            <p:ph type="title" idx="4294967295"/>
          </p:nvPr>
        </p:nvSpPr>
        <p:spPr bwMode="auto">
          <a:xfrm>
            <a:off x="170453" y="1052736"/>
            <a:ext cx="7464301" cy="642938"/>
          </a:xfrm>
          <a:prstGeom prst="rect">
            <a:avLst/>
          </a:prstGeom>
          <a:noFill/>
          <a:ln>
            <a:miter lim="800000"/>
            <a:headEnd/>
            <a:tailEnd/>
          </a:ln>
        </p:spPr>
        <p:txBody>
          <a:bodyPr>
            <a:normAutofit fontScale="90000"/>
          </a:bodyPr>
          <a:lstStyle/>
          <a:p>
            <a:pPr algn="r">
              <a:lnSpc>
                <a:spcPct val="118000"/>
              </a:lnSpc>
            </a:pPr>
            <a:r>
              <a:rPr lang="it-IT" dirty="0" smtClean="0">
                <a:solidFill>
                  <a:srgbClr val="2D2D8B"/>
                </a:solidFill>
                <a:latin typeface="Arial-BoldMT"/>
                <a:ea typeface="Arial-BoldMT"/>
                <a:cs typeface="Arial-BoldMT"/>
              </a:rPr>
              <a:t> 3 Passi per Partecipare</a:t>
            </a:r>
          </a:p>
        </p:txBody>
      </p:sp>
      <p:sp>
        <p:nvSpPr>
          <p:cNvPr id="40963" name="Ovale 7"/>
          <p:cNvSpPr>
            <a:spLocks noChangeArrowheads="1"/>
          </p:cNvSpPr>
          <p:nvPr/>
        </p:nvSpPr>
        <p:spPr bwMode="auto">
          <a:xfrm>
            <a:off x="6265863" y="2924175"/>
            <a:ext cx="1368425" cy="649288"/>
          </a:xfrm>
          <a:prstGeom prst="ellipse">
            <a:avLst/>
          </a:prstGeom>
          <a:noFill/>
          <a:ln w="9525" algn="ctr">
            <a:solidFill>
              <a:srgbClr val="FF0000"/>
            </a:solidFill>
            <a:round/>
            <a:headEnd/>
            <a:tailEnd/>
          </a:ln>
        </p:spPr>
        <p:txBody>
          <a:bodyPr/>
          <a:lstStyle/>
          <a:p>
            <a:endParaRPr lang="it-IT">
              <a:solidFill>
                <a:srgbClr val="000000"/>
              </a:solidFill>
            </a:endParaRPr>
          </a:p>
        </p:txBody>
      </p:sp>
      <p:sp>
        <p:nvSpPr>
          <p:cNvPr id="40964" name="CasellaDiTesto 1"/>
          <p:cNvSpPr txBox="1">
            <a:spLocks noChangeArrowheads="1"/>
          </p:cNvSpPr>
          <p:nvPr/>
        </p:nvSpPr>
        <p:spPr bwMode="auto">
          <a:xfrm>
            <a:off x="3419475" y="1878013"/>
            <a:ext cx="4392613" cy="522287"/>
          </a:xfrm>
          <a:prstGeom prst="rect">
            <a:avLst/>
          </a:prstGeom>
          <a:noFill/>
          <a:ln w="9525">
            <a:noFill/>
            <a:miter lim="800000"/>
            <a:headEnd/>
            <a:tailEnd/>
          </a:ln>
        </p:spPr>
        <p:txBody>
          <a:bodyPr>
            <a:spAutoFit/>
          </a:bodyPr>
          <a:lstStyle/>
          <a:p>
            <a:r>
              <a:rPr lang="it-IT" sz="1400">
                <a:solidFill>
                  <a:srgbClr val="FF0000"/>
                </a:solidFill>
              </a:rPr>
              <a:t>ENTRARE SU INNOVATORIPA.IT E CLICCARE SU ACCEDI CON FORMEZAUTH</a:t>
            </a:r>
          </a:p>
        </p:txBody>
      </p:sp>
    </p:spTree>
    <p:extLst>
      <p:ext uri="{BB962C8B-B14F-4D97-AF65-F5344CB8AC3E}">
        <p14:creationId xmlns:p14="http://schemas.microsoft.com/office/powerpoint/2010/main" val="164103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Rectangle 7"/>
          <p:cNvSpPr>
            <a:spLocks noGrp="1" noChangeArrowheads="1"/>
          </p:cNvSpPr>
          <p:nvPr>
            <p:ph type="title" idx="4294967295"/>
          </p:nvPr>
        </p:nvSpPr>
        <p:spPr bwMode="auto">
          <a:xfrm>
            <a:off x="1346200" y="1285875"/>
            <a:ext cx="6297613" cy="642938"/>
          </a:xfrm>
          <a:prstGeom prst="rect">
            <a:avLst/>
          </a:prstGeom>
          <a:noFill/>
          <a:ln>
            <a:miter lim="800000"/>
            <a:headEnd/>
            <a:tailEnd/>
          </a:ln>
        </p:spPr>
        <p:txBody>
          <a:bodyPr>
            <a:normAutofit fontScale="90000"/>
          </a:bodyPr>
          <a:lstStyle/>
          <a:p>
            <a:pPr algn="r">
              <a:lnSpc>
                <a:spcPct val="118000"/>
              </a:lnSpc>
            </a:pPr>
            <a:r>
              <a:rPr lang="it-IT" dirty="0" smtClean="0">
                <a:solidFill>
                  <a:srgbClr val="2D2D8B"/>
                </a:solidFill>
                <a:latin typeface="Arial-BoldMT"/>
                <a:ea typeface="Arial-BoldMT"/>
                <a:cs typeface="Arial-BoldMT"/>
              </a:rPr>
              <a:t> 3 Passi per Partecipare</a:t>
            </a:r>
          </a:p>
        </p:txBody>
      </p:sp>
      <p:pic>
        <p:nvPicPr>
          <p:cNvPr id="41986" name="Immagine 5"/>
          <p:cNvPicPr>
            <a:picLocks noChangeAspect="1"/>
          </p:cNvPicPr>
          <p:nvPr/>
        </p:nvPicPr>
        <p:blipFill>
          <a:blip r:embed="rId2" cstate="print"/>
          <a:srcRect/>
          <a:stretch>
            <a:fillRect/>
          </a:stretch>
        </p:blipFill>
        <p:spPr bwMode="auto">
          <a:xfrm>
            <a:off x="1346200" y="2420938"/>
            <a:ext cx="6916738" cy="3887787"/>
          </a:xfrm>
          <a:prstGeom prst="rect">
            <a:avLst/>
          </a:prstGeom>
          <a:noFill/>
          <a:ln w="9525">
            <a:noFill/>
            <a:miter lim="800000"/>
            <a:headEnd/>
            <a:tailEnd/>
          </a:ln>
        </p:spPr>
      </p:pic>
      <p:sp>
        <p:nvSpPr>
          <p:cNvPr id="41987" name="Ovale 3"/>
          <p:cNvSpPr>
            <a:spLocks noChangeArrowheads="1"/>
          </p:cNvSpPr>
          <p:nvPr/>
        </p:nvSpPr>
        <p:spPr bwMode="auto">
          <a:xfrm>
            <a:off x="2195513" y="5300663"/>
            <a:ext cx="1368425" cy="649287"/>
          </a:xfrm>
          <a:prstGeom prst="ellipse">
            <a:avLst/>
          </a:prstGeom>
          <a:noFill/>
          <a:ln w="9525" algn="ctr">
            <a:solidFill>
              <a:srgbClr val="FF0000"/>
            </a:solidFill>
            <a:round/>
            <a:headEnd/>
            <a:tailEnd/>
          </a:ln>
        </p:spPr>
        <p:txBody>
          <a:bodyPr/>
          <a:lstStyle/>
          <a:p>
            <a:endParaRPr lang="it-IT">
              <a:solidFill>
                <a:srgbClr val="000000"/>
              </a:solidFill>
            </a:endParaRPr>
          </a:p>
        </p:txBody>
      </p:sp>
      <p:sp>
        <p:nvSpPr>
          <p:cNvPr id="41988" name="CasellaDiTesto 6"/>
          <p:cNvSpPr txBox="1">
            <a:spLocks noChangeArrowheads="1"/>
          </p:cNvSpPr>
          <p:nvPr/>
        </p:nvSpPr>
        <p:spPr bwMode="auto">
          <a:xfrm>
            <a:off x="3419475" y="1878013"/>
            <a:ext cx="4392613" cy="522287"/>
          </a:xfrm>
          <a:prstGeom prst="rect">
            <a:avLst/>
          </a:prstGeom>
          <a:noFill/>
          <a:ln w="9525">
            <a:noFill/>
            <a:miter lim="800000"/>
            <a:headEnd/>
            <a:tailEnd/>
          </a:ln>
        </p:spPr>
        <p:txBody>
          <a:bodyPr>
            <a:spAutoFit/>
          </a:bodyPr>
          <a:lstStyle/>
          <a:p>
            <a:r>
              <a:rPr lang="it-IT" sz="1400">
                <a:solidFill>
                  <a:srgbClr val="FF0000"/>
                </a:solidFill>
              </a:rPr>
              <a:t>CLICCARE SU REGISTRATI E CREARE UN PROFILO SULLA PIATTAFORMA  INNOVATORIPA</a:t>
            </a:r>
          </a:p>
        </p:txBody>
      </p:sp>
    </p:spTree>
    <p:extLst>
      <p:ext uri="{BB962C8B-B14F-4D97-AF65-F5344CB8AC3E}">
        <p14:creationId xmlns:p14="http://schemas.microsoft.com/office/powerpoint/2010/main" val="31352458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7"/>
          <p:cNvSpPr>
            <a:spLocks noGrp="1" noChangeArrowheads="1"/>
          </p:cNvSpPr>
          <p:nvPr>
            <p:ph type="title" idx="4294967295"/>
          </p:nvPr>
        </p:nvSpPr>
        <p:spPr bwMode="auto">
          <a:xfrm>
            <a:off x="4683125" y="1285875"/>
            <a:ext cx="2960688" cy="642938"/>
          </a:xfrm>
          <a:prstGeom prst="rect">
            <a:avLst/>
          </a:prstGeom>
          <a:noFill/>
          <a:ln>
            <a:miter lim="800000"/>
            <a:headEnd/>
            <a:tailEnd/>
          </a:ln>
        </p:spPr>
        <p:txBody>
          <a:bodyPr>
            <a:normAutofit fontScale="90000"/>
          </a:bodyPr>
          <a:lstStyle/>
          <a:p>
            <a:pPr algn="r">
              <a:lnSpc>
                <a:spcPct val="118000"/>
              </a:lnSpc>
            </a:pPr>
            <a:r>
              <a:rPr lang="it-IT" smtClean="0">
                <a:solidFill>
                  <a:srgbClr val="2D2D8B"/>
                </a:solidFill>
                <a:latin typeface="Arial-BoldMT"/>
                <a:ea typeface="Arial-BoldMT"/>
                <a:cs typeface="Arial-BoldMT"/>
              </a:rPr>
              <a:t> Partecipa</a:t>
            </a:r>
          </a:p>
        </p:txBody>
      </p:sp>
      <p:pic>
        <p:nvPicPr>
          <p:cNvPr id="43010" name="Immagine 1"/>
          <p:cNvPicPr>
            <a:picLocks noChangeAspect="1"/>
          </p:cNvPicPr>
          <p:nvPr/>
        </p:nvPicPr>
        <p:blipFill>
          <a:blip r:embed="rId2" cstate="print"/>
          <a:srcRect/>
          <a:stretch>
            <a:fillRect/>
          </a:stretch>
        </p:blipFill>
        <p:spPr bwMode="auto">
          <a:xfrm>
            <a:off x="684213" y="2420938"/>
            <a:ext cx="7559675" cy="4251325"/>
          </a:xfrm>
          <a:prstGeom prst="rect">
            <a:avLst/>
          </a:prstGeom>
          <a:noFill/>
          <a:ln w="9525">
            <a:noFill/>
            <a:miter lim="800000"/>
            <a:headEnd/>
            <a:tailEnd/>
          </a:ln>
        </p:spPr>
      </p:pic>
      <p:sp>
        <p:nvSpPr>
          <p:cNvPr id="43011" name="Ovale 3"/>
          <p:cNvSpPr>
            <a:spLocks noChangeArrowheads="1"/>
          </p:cNvSpPr>
          <p:nvPr/>
        </p:nvSpPr>
        <p:spPr bwMode="auto">
          <a:xfrm>
            <a:off x="5795963" y="4941888"/>
            <a:ext cx="1368425" cy="647700"/>
          </a:xfrm>
          <a:prstGeom prst="ellipse">
            <a:avLst/>
          </a:prstGeom>
          <a:noFill/>
          <a:ln w="9525" algn="ctr">
            <a:solidFill>
              <a:srgbClr val="FF0000"/>
            </a:solidFill>
            <a:round/>
            <a:headEnd/>
            <a:tailEnd/>
          </a:ln>
        </p:spPr>
        <p:txBody>
          <a:bodyPr/>
          <a:lstStyle/>
          <a:p>
            <a:endParaRPr lang="it-IT">
              <a:solidFill>
                <a:srgbClr val="000000"/>
              </a:solidFill>
            </a:endParaRPr>
          </a:p>
        </p:txBody>
      </p:sp>
      <p:sp>
        <p:nvSpPr>
          <p:cNvPr id="43012" name="CasellaDiTesto 5"/>
          <p:cNvSpPr txBox="1">
            <a:spLocks noChangeArrowheads="1"/>
          </p:cNvSpPr>
          <p:nvPr/>
        </p:nvSpPr>
        <p:spPr bwMode="auto">
          <a:xfrm>
            <a:off x="3203575" y="1878013"/>
            <a:ext cx="5184775" cy="522287"/>
          </a:xfrm>
          <a:prstGeom prst="rect">
            <a:avLst/>
          </a:prstGeom>
          <a:noFill/>
          <a:ln w="9525">
            <a:noFill/>
            <a:miter lim="800000"/>
            <a:headEnd/>
            <a:tailEnd/>
          </a:ln>
        </p:spPr>
        <p:txBody>
          <a:bodyPr>
            <a:spAutoFit/>
          </a:bodyPr>
          <a:lstStyle/>
          <a:p>
            <a:r>
              <a:rPr lang="it-IT" sz="1400">
                <a:solidFill>
                  <a:srgbClr val="FF0000"/>
                </a:solidFill>
              </a:rPr>
              <a:t>CRECARE TRA LE COMMUNITY «STRATEGIA INNOVAZIONE SICILIA» E CLICCARE SU PARTECIPA. </a:t>
            </a:r>
          </a:p>
        </p:txBody>
      </p:sp>
    </p:spTree>
    <p:extLst>
      <p:ext uri="{BB962C8B-B14F-4D97-AF65-F5344CB8AC3E}">
        <p14:creationId xmlns:p14="http://schemas.microsoft.com/office/powerpoint/2010/main" val="11623493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ma 6"/>
          <p:cNvGraphicFramePr/>
          <p:nvPr>
            <p:extLst>
              <p:ext uri="{D42A27DB-BD31-4B8C-83A1-F6EECF244321}">
                <p14:modId xmlns:p14="http://schemas.microsoft.com/office/powerpoint/2010/main" val="1826735653"/>
              </p:ext>
            </p:extLst>
          </p:nvPr>
        </p:nvGraphicFramePr>
        <p:xfrm>
          <a:off x="1115616" y="764704"/>
          <a:ext cx="7272808"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1" name="Diagramma 10"/>
          <p:cNvGraphicFramePr/>
          <p:nvPr>
            <p:extLst>
              <p:ext uri="{D42A27DB-BD31-4B8C-83A1-F6EECF244321}">
                <p14:modId xmlns:p14="http://schemas.microsoft.com/office/powerpoint/2010/main" val="1799450160"/>
              </p:ext>
            </p:extLst>
          </p:nvPr>
        </p:nvGraphicFramePr>
        <p:xfrm>
          <a:off x="107504" y="1484784"/>
          <a:ext cx="8928992" cy="49685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38937661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1" name="Immagine 8"/>
          <p:cNvPicPr>
            <a:picLocks noChangeAspect="1"/>
          </p:cNvPicPr>
          <p:nvPr/>
        </p:nvPicPr>
        <p:blipFill>
          <a:blip r:embed="rId2" cstate="print"/>
          <a:srcRect/>
          <a:stretch>
            <a:fillRect/>
          </a:stretch>
        </p:blipFill>
        <p:spPr bwMode="auto">
          <a:xfrm>
            <a:off x="825500" y="2349500"/>
            <a:ext cx="7145338" cy="4016375"/>
          </a:xfrm>
          <a:prstGeom prst="rect">
            <a:avLst/>
          </a:prstGeom>
          <a:noFill/>
          <a:ln w="9525">
            <a:noFill/>
            <a:miter lim="800000"/>
            <a:headEnd/>
            <a:tailEnd/>
          </a:ln>
        </p:spPr>
      </p:pic>
      <p:sp>
        <p:nvSpPr>
          <p:cNvPr id="40962" name="Rectangle 7"/>
          <p:cNvSpPr>
            <a:spLocks noGrp="1" noChangeArrowheads="1"/>
          </p:cNvSpPr>
          <p:nvPr>
            <p:ph type="title" idx="4294967295"/>
          </p:nvPr>
        </p:nvSpPr>
        <p:spPr bwMode="auto">
          <a:xfrm>
            <a:off x="1034083" y="692696"/>
            <a:ext cx="6600205" cy="642938"/>
          </a:xfrm>
          <a:prstGeom prst="rect">
            <a:avLst/>
          </a:prstGeom>
          <a:noFill/>
          <a:ln>
            <a:miter lim="800000"/>
            <a:headEnd/>
            <a:tailEnd/>
          </a:ln>
        </p:spPr>
        <p:txBody>
          <a:bodyPr>
            <a:normAutofit fontScale="90000"/>
          </a:bodyPr>
          <a:lstStyle/>
          <a:p>
            <a:pPr algn="r">
              <a:lnSpc>
                <a:spcPct val="118000"/>
              </a:lnSpc>
            </a:pPr>
            <a:r>
              <a:rPr lang="it-IT" dirty="0" smtClean="0">
                <a:solidFill>
                  <a:srgbClr val="2D2D8B"/>
                </a:solidFill>
                <a:latin typeface="Arial-BoldMT"/>
                <a:ea typeface="Arial-BoldMT"/>
                <a:cs typeface="Arial-BoldMT"/>
              </a:rPr>
              <a:t> 3 Passi per Partecipare</a:t>
            </a:r>
          </a:p>
        </p:txBody>
      </p:sp>
      <p:sp>
        <p:nvSpPr>
          <p:cNvPr id="40963" name="Ovale 7"/>
          <p:cNvSpPr>
            <a:spLocks noChangeArrowheads="1"/>
          </p:cNvSpPr>
          <p:nvPr/>
        </p:nvSpPr>
        <p:spPr bwMode="auto">
          <a:xfrm>
            <a:off x="6265863" y="2924175"/>
            <a:ext cx="1368425" cy="649288"/>
          </a:xfrm>
          <a:prstGeom prst="ellipse">
            <a:avLst/>
          </a:prstGeom>
          <a:noFill/>
          <a:ln w="9525" algn="ctr">
            <a:solidFill>
              <a:srgbClr val="FF0000"/>
            </a:solidFill>
            <a:round/>
            <a:headEnd/>
            <a:tailEnd/>
          </a:ln>
        </p:spPr>
        <p:txBody>
          <a:bodyPr/>
          <a:lstStyle/>
          <a:p>
            <a:endParaRPr lang="it-IT">
              <a:solidFill>
                <a:srgbClr val="000000"/>
              </a:solidFill>
            </a:endParaRPr>
          </a:p>
        </p:txBody>
      </p:sp>
      <p:sp>
        <p:nvSpPr>
          <p:cNvPr id="40964" name="CasellaDiTesto 1"/>
          <p:cNvSpPr txBox="1">
            <a:spLocks noChangeArrowheads="1"/>
          </p:cNvSpPr>
          <p:nvPr/>
        </p:nvSpPr>
        <p:spPr bwMode="auto">
          <a:xfrm>
            <a:off x="3419475" y="1878013"/>
            <a:ext cx="4392613" cy="522287"/>
          </a:xfrm>
          <a:prstGeom prst="rect">
            <a:avLst/>
          </a:prstGeom>
          <a:noFill/>
          <a:ln w="9525">
            <a:noFill/>
            <a:miter lim="800000"/>
            <a:headEnd/>
            <a:tailEnd/>
          </a:ln>
        </p:spPr>
        <p:txBody>
          <a:bodyPr>
            <a:spAutoFit/>
          </a:bodyPr>
          <a:lstStyle/>
          <a:p>
            <a:r>
              <a:rPr lang="it-IT" sz="1400">
                <a:solidFill>
                  <a:srgbClr val="FF0000"/>
                </a:solidFill>
              </a:rPr>
              <a:t>ENTRARE SU INNOVATORIPA.IT E CLICCARE SU ACCEDI CON FORMEZAUTH</a:t>
            </a:r>
          </a:p>
        </p:txBody>
      </p:sp>
    </p:spTree>
    <p:extLst>
      <p:ext uri="{BB962C8B-B14F-4D97-AF65-F5344CB8AC3E}">
        <p14:creationId xmlns:p14="http://schemas.microsoft.com/office/powerpoint/2010/main" val="164103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Rectangle 7"/>
          <p:cNvSpPr>
            <a:spLocks noGrp="1" noChangeArrowheads="1"/>
          </p:cNvSpPr>
          <p:nvPr>
            <p:ph type="title" idx="4294967295"/>
          </p:nvPr>
        </p:nvSpPr>
        <p:spPr bwMode="auto">
          <a:xfrm>
            <a:off x="3563938" y="1285875"/>
            <a:ext cx="4079875" cy="642938"/>
          </a:xfrm>
          <a:prstGeom prst="rect">
            <a:avLst/>
          </a:prstGeom>
          <a:noFill/>
          <a:ln>
            <a:miter lim="800000"/>
            <a:headEnd/>
            <a:tailEnd/>
          </a:ln>
        </p:spPr>
        <p:txBody>
          <a:bodyPr>
            <a:normAutofit fontScale="90000"/>
          </a:bodyPr>
          <a:lstStyle/>
          <a:p>
            <a:pPr algn="r">
              <a:lnSpc>
                <a:spcPct val="118000"/>
              </a:lnSpc>
            </a:pPr>
            <a:r>
              <a:rPr lang="it-IT" smtClean="0">
                <a:solidFill>
                  <a:srgbClr val="2D2D8B"/>
                </a:solidFill>
                <a:latin typeface="Arial-BoldMT"/>
                <a:ea typeface="Arial-BoldMT"/>
                <a:cs typeface="Arial-BoldMT"/>
              </a:rPr>
              <a:t> 3 Passi per Partecipare</a:t>
            </a:r>
          </a:p>
        </p:txBody>
      </p:sp>
      <p:pic>
        <p:nvPicPr>
          <p:cNvPr id="41986" name="Immagine 5"/>
          <p:cNvPicPr>
            <a:picLocks noChangeAspect="1"/>
          </p:cNvPicPr>
          <p:nvPr/>
        </p:nvPicPr>
        <p:blipFill>
          <a:blip r:embed="rId2" cstate="print"/>
          <a:srcRect/>
          <a:stretch>
            <a:fillRect/>
          </a:stretch>
        </p:blipFill>
        <p:spPr bwMode="auto">
          <a:xfrm>
            <a:off x="1346200" y="2420938"/>
            <a:ext cx="6916738" cy="3887787"/>
          </a:xfrm>
          <a:prstGeom prst="rect">
            <a:avLst/>
          </a:prstGeom>
          <a:noFill/>
          <a:ln w="9525">
            <a:noFill/>
            <a:miter lim="800000"/>
            <a:headEnd/>
            <a:tailEnd/>
          </a:ln>
        </p:spPr>
      </p:pic>
      <p:sp>
        <p:nvSpPr>
          <p:cNvPr id="41987" name="Ovale 3"/>
          <p:cNvSpPr>
            <a:spLocks noChangeArrowheads="1"/>
          </p:cNvSpPr>
          <p:nvPr/>
        </p:nvSpPr>
        <p:spPr bwMode="auto">
          <a:xfrm>
            <a:off x="2195513" y="5300663"/>
            <a:ext cx="1368425" cy="649287"/>
          </a:xfrm>
          <a:prstGeom prst="ellipse">
            <a:avLst/>
          </a:prstGeom>
          <a:noFill/>
          <a:ln w="9525" algn="ctr">
            <a:solidFill>
              <a:srgbClr val="FF0000"/>
            </a:solidFill>
            <a:round/>
            <a:headEnd/>
            <a:tailEnd/>
          </a:ln>
        </p:spPr>
        <p:txBody>
          <a:bodyPr/>
          <a:lstStyle/>
          <a:p>
            <a:endParaRPr lang="it-IT">
              <a:solidFill>
                <a:srgbClr val="000000"/>
              </a:solidFill>
            </a:endParaRPr>
          </a:p>
        </p:txBody>
      </p:sp>
      <p:sp>
        <p:nvSpPr>
          <p:cNvPr id="41988" name="CasellaDiTesto 6"/>
          <p:cNvSpPr txBox="1">
            <a:spLocks noChangeArrowheads="1"/>
          </p:cNvSpPr>
          <p:nvPr/>
        </p:nvSpPr>
        <p:spPr bwMode="auto">
          <a:xfrm>
            <a:off x="3419475" y="1878013"/>
            <a:ext cx="4392613" cy="522287"/>
          </a:xfrm>
          <a:prstGeom prst="rect">
            <a:avLst/>
          </a:prstGeom>
          <a:noFill/>
          <a:ln w="9525">
            <a:noFill/>
            <a:miter lim="800000"/>
            <a:headEnd/>
            <a:tailEnd/>
          </a:ln>
        </p:spPr>
        <p:txBody>
          <a:bodyPr>
            <a:spAutoFit/>
          </a:bodyPr>
          <a:lstStyle/>
          <a:p>
            <a:r>
              <a:rPr lang="it-IT" sz="1400">
                <a:solidFill>
                  <a:srgbClr val="FF0000"/>
                </a:solidFill>
              </a:rPr>
              <a:t>CLICCARE SU REGISTRATI E CREARE UN PROFILO SULLA PIATTAFORMA  INNOVATORIPA</a:t>
            </a:r>
          </a:p>
        </p:txBody>
      </p:sp>
    </p:spTree>
    <p:extLst>
      <p:ext uri="{BB962C8B-B14F-4D97-AF65-F5344CB8AC3E}">
        <p14:creationId xmlns:p14="http://schemas.microsoft.com/office/powerpoint/2010/main" val="31352458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7"/>
          <p:cNvSpPr>
            <a:spLocks noGrp="1" noChangeArrowheads="1"/>
          </p:cNvSpPr>
          <p:nvPr>
            <p:ph type="title" idx="4294967295"/>
          </p:nvPr>
        </p:nvSpPr>
        <p:spPr bwMode="auto">
          <a:xfrm>
            <a:off x="4683125" y="1285875"/>
            <a:ext cx="2960688" cy="642938"/>
          </a:xfrm>
          <a:prstGeom prst="rect">
            <a:avLst/>
          </a:prstGeom>
          <a:noFill/>
          <a:ln>
            <a:miter lim="800000"/>
            <a:headEnd/>
            <a:tailEnd/>
          </a:ln>
        </p:spPr>
        <p:txBody>
          <a:bodyPr>
            <a:normAutofit fontScale="90000"/>
          </a:bodyPr>
          <a:lstStyle/>
          <a:p>
            <a:pPr algn="r">
              <a:lnSpc>
                <a:spcPct val="118000"/>
              </a:lnSpc>
            </a:pPr>
            <a:r>
              <a:rPr lang="it-IT" smtClean="0">
                <a:solidFill>
                  <a:srgbClr val="2D2D8B"/>
                </a:solidFill>
                <a:latin typeface="Arial-BoldMT"/>
                <a:ea typeface="Arial-BoldMT"/>
                <a:cs typeface="Arial-BoldMT"/>
              </a:rPr>
              <a:t> Partecipa</a:t>
            </a:r>
          </a:p>
        </p:txBody>
      </p:sp>
      <p:pic>
        <p:nvPicPr>
          <p:cNvPr id="43010" name="Immagine 1"/>
          <p:cNvPicPr>
            <a:picLocks noChangeAspect="1"/>
          </p:cNvPicPr>
          <p:nvPr/>
        </p:nvPicPr>
        <p:blipFill>
          <a:blip r:embed="rId2" cstate="print"/>
          <a:srcRect/>
          <a:stretch>
            <a:fillRect/>
          </a:stretch>
        </p:blipFill>
        <p:spPr bwMode="auto">
          <a:xfrm>
            <a:off x="684213" y="2420938"/>
            <a:ext cx="7559675" cy="4251325"/>
          </a:xfrm>
          <a:prstGeom prst="rect">
            <a:avLst/>
          </a:prstGeom>
          <a:noFill/>
          <a:ln w="9525">
            <a:noFill/>
            <a:miter lim="800000"/>
            <a:headEnd/>
            <a:tailEnd/>
          </a:ln>
        </p:spPr>
      </p:pic>
      <p:sp>
        <p:nvSpPr>
          <p:cNvPr id="43011" name="Ovale 3"/>
          <p:cNvSpPr>
            <a:spLocks noChangeArrowheads="1"/>
          </p:cNvSpPr>
          <p:nvPr/>
        </p:nvSpPr>
        <p:spPr bwMode="auto">
          <a:xfrm>
            <a:off x="5795963" y="4941888"/>
            <a:ext cx="1368425" cy="647700"/>
          </a:xfrm>
          <a:prstGeom prst="ellipse">
            <a:avLst/>
          </a:prstGeom>
          <a:noFill/>
          <a:ln w="9525" algn="ctr">
            <a:solidFill>
              <a:srgbClr val="FF0000"/>
            </a:solidFill>
            <a:round/>
            <a:headEnd/>
            <a:tailEnd/>
          </a:ln>
        </p:spPr>
        <p:txBody>
          <a:bodyPr/>
          <a:lstStyle/>
          <a:p>
            <a:endParaRPr lang="it-IT">
              <a:solidFill>
                <a:srgbClr val="000000"/>
              </a:solidFill>
            </a:endParaRPr>
          </a:p>
        </p:txBody>
      </p:sp>
      <p:sp>
        <p:nvSpPr>
          <p:cNvPr id="43012" name="CasellaDiTesto 5"/>
          <p:cNvSpPr txBox="1">
            <a:spLocks noChangeArrowheads="1"/>
          </p:cNvSpPr>
          <p:nvPr/>
        </p:nvSpPr>
        <p:spPr bwMode="auto">
          <a:xfrm>
            <a:off x="3203575" y="1878013"/>
            <a:ext cx="5184775" cy="522287"/>
          </a:xfrm>
          <a:prstGeom prst="rect">
            <a:avLst/>
          </a:prstGeom>
          <a:noFill/>
          <a:ln w="9525">
            <a:noFill/>
            <a:miter lim="800000"/>
            <a:headEnd/>
            <a:tailEnd/>
          </a:ln>
        </p:spPr>
        <p:txBody>
          <a:bodyPr>
            <a:spAutoFit/>
          </a:bodyPr>
          <a:lstStyle/>
          <a:p>
            <a:r>
              <a:rPr lang="it-IT" sz="1400">
                <a:solidFill>
                  <a:srgbClr val="FF0000"/>
                </a:solidFill>
              </a:rPr>
              <a:t>CRECARE TRA LE COMMUNITY «STRATEGIA INNOVAZIONE SICILIA» E CLICCARE SU PARTECIPA. </a:t>
            </a:r>
          </a:p>
        </p:txBody>
      </p:sp>
    </p:spTree>
    <p:extLst>
      <p:ext uri="{BB962C8B-B14F-4D97-AF65-F5344CB8AC3E}">
        <p14:creationId xmlns:p14="http://schemas.microsoft.com/office/powerpoint/2010/main" val="11623493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ma 1"/>
          <p:cNvGraphicFramePr/>
          <p:nvPr>
            <p:extLst/>
          </p:nvPr>
        </p:nvGraphicFramePr>
        <p:xfrm>
          <a:off x="185051" y="1687374"/>
          <a:ext cx="1794661" cy="45333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olo 1"/>
          <p:cNvSpPr txBox="1">
            <a:spLocks/>
          </p:cNvSpPr>
          <p:nvPr/>
        </p:nvSpPr>
        <p:spPr bwMode="auto">
          <a:xfrm>
            <a:off x="467544" y="804783"/>
            <a:ext cx="7769469" cy="663819"/>
          </a:xfrm>
          <a:prstGeom prst="rect">
            <a:avLst/>
          </a:prstGeom>
          <a:noFill/>
          <a:ln w="9525">
            <a:noFill/>
            <a:miter lim="800000"/>
            <a:headEnd/>
            <a:tailEnd/>
          </a:ln>
          <a:effectLst/>
        </p:spPr>
        <p:txBody>
          <a:bodyPr lIns="0" tIns="33231" rIns="0" bIns="0"/>
          <a:lstStyle>
            <a:defPPr lvl="0">
              <a:buSzPct val="45000"/>
              <a:buFont typeface="StarSymbol"/>
              <a:buNone/>
              <a:defRPr/>
            </a:defPPr>
            <a:lvl1pPr lvl="0"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mj-lt"/>
                <a:ea typeface="+mj-ea"/>
                <a:cs typeface="+mj-cs"/>
              </a:defRPr>
            </a:lvl1pPr>
            <a:lvl2pPr lvl="1"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2pPr>
            <a:lvl3pPr lvl="2"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3pPr>
            <a:lvl4pPr lvl="3"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4pPr>
            <a:lvl5pPr lvl="4"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5pPr>
            <a:lvl6pPr marL="457200" lvl="5"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6pPr>
            <a:lvl7pPr marL="914400" lvl="6"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7pPr>
            <a:lvl8pPr marL="1371600" lvl="7"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8pPr>
            <a:lvl9pPr marL="1828800" lvl="8"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9pPr>
          </a:lstStyle>
          <a:p>
            <a:pPr lvl="0">
              <a:buNone/>
            </a:pPr>
            <a:r>
              <a:rPr lang="it-IT" sz="4000" dirty="0">
                <a:solidFill>
                  <a:schemeClr val="accent1">
                    <a:lumMod val="75000"/>
                  </a:schemeClr>
                </a:solidFill>
              </a:rPr>
              <a:t>Modalità di </a:t>
            </a:r>
            <a:r>
              <a:rPr lang="it-IT" sz="4000" dirty="0" smtClean="0">
                <a:solidFill>
                  <a:schemeClr val="accent1">
                    <a:lumMod val="75000"/>
                  </a:schemeClr>
                </a:solidFill>
              </a:rPr>
              <a:t>lavoro (1)</a:t>
            </a:r>
            <a:endParaRPr lang="it-IT" sz="4000" dirty="0">
              <a:solidFill>
                <a:schemeClr val="accent1">
                  <a:lumMod val="75000"/>
                </a:schemeClr>
              </a:solidFill>
            </a:endParaRPr>
          </a:p>
        </p:txBody>
      </p:sp>
      <p:graphicFrame>
        <p:nvGraphicFramePr>
          <p:cNvPr id="4" name="Segnaposto contenuto 4"/>
          <p:cNvGraphicFramePr>
            <a:graphicFrameLocks/>
          </p:cNvGraphicFramePr>
          <p:nvPr/>
        </p:nvGraphicFramePr>
        <p:xfrm>
          <a:off x="1184709" y="1567870"/>
          <a:ext cx="7574833" cy="72976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5" name="Diagramma 4"/>
          <p:cNvGraphicFramePr/>
          <p:nvPr>
            <p:extLst/>
          </p:nvPr>
        </p:nvGraphicFramePr>
        <p:xfrm>
          <a:off x="2312057" y="1900215"/>
          <a:ext cx="6096000" cy="406400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6" name="Diagramma 5"/>
          <p:cNvGraphicFramePr/>
          <p:nvPr>
            <p:extLst/>
          </p:nvPr>
        </p:nvGraphicFramePr>
        <p:xfrm>
          <a:off x="6699005" y="1833746"/>
          <a:ext cx="2127006" cy="838338"/>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pSp>
        <p:nvGrpSpPr>
          <p:cNvPr id="8" name="Gruppo 7"/>
          <p:cNvGrpSpPr/>
          <p:nvPr/>
        </p:nvGrpSpPr>
        <p:grpSpPr>
          <a:xfrm>
            <a:off x="6765475" y="5223661"/>
            <a:ext cx="2125797" cy="997034"/>
            <a:chOff x="1308" y="27903"/>
            <a:chExt cx="2302947" cy="764184"/>
          </a:xfrm>
          <a:scene3d>
            <a:camera prst="orthographicFront">
              <a:rot lat="0" lon="0" rev="0"/>
            </a:camera>
            <a:lightRig rig="contrasting" dir="t">
              <a:rot lat="0" lon="0" rev="1200000"/>
            </a:lightRig>
          </a:scene3d>
        </p:grpSpPr>
        <p:sp>
          <p:nvSpPr>
            <p:cNvPr id="9" name="Rettangolo 8"/>
            <p:cNvSpPr/>
            <p:nvPr/>
          </p:nvSpPr>
          <p:spPr>
            <a:xfrm>
              <a:off x="1308" y="27903"/>
              <a:ext cx="2302947" cy="764184"/>
            </a:xfrm>
            <a:prstGeom prst="rect">
              <a:avLst/>
            </a:prstGeom>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0" name="Rettangolo 9"/>
            <p:cNvSpPr/>
            <p:nvPr/>
          </p:nvSpPr>
          <p:spPr>
            <a:xfrm>
              <a:off x="1308" y="27903"/>
              <a:ext cx="2302947" cy="76418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3305" tIns="63305" rIns="63305" bIns="63305" numCol="1" spcCol="1270" anchor="ctr" anchorCtr="0">
              <a:noAutofit/>
            </a:bodyPr>
            <a:lstStyle/>
            <a:p>
              <a:pPr algn="ctr" defTabSz="738572">
                <a:lnSpc>
                  <a:spcPct val="90000"/>
                </a:lnSpc>
                <a:spcBef>
                  <a:spcPct val="0"/>
                </a:spcBef>
                <a:spcAft>
                  <a:spcPct val="35000"/>
                </a:spcAft>
              </a:pPr>
              <a:r>
                <a:rPr lang="it-IT" sz="1662" dirty="0"/>
                <a:t>Lavoro a distanza  e/o in presenza</a:t>
              </a:r>
            </a:p>
            <a:p>
              <a:pPr algn="ctr" defTabSz="738572">
                <a:lnSpc>
                  <a:spcPct val="90000"/>
                </a:lnSpc>
                <a:spcBef>
                  <a:spcPct val="0"/>
                </a:spcBef>
                <a:spcAft>
                  <a:spcPct val="35000"/>
                </a:spcAft>
              </a:pPr>
              <a:r>
                <a:rPr lang="it-IT" sz="1662" dirty="0"/>
                <a:t>Entro il 21 maggio 2014</a:t>
              </a:r>
            </a:p>
          </p:txBody>
        </p:sp>
      </p:grpSp>
      <p:grpSp>
        <p:nvGrpSpPr>
          <p:cNvPr id="11" name="Gruppo 10"/>
          <p:cNvGrpSpPr/>
          <p:nvPr/>
        </p:nvGrpSpPr>
        <p:grpSpPr>
          <a:xfrm>
            <a:off x="1979713" y="5290130"/>
            <a:ext cx="2125797" cy="705401"/>
            <a:chOff x="1308" y="27903"/>
            <a:chExt cx="2302947" cy="764184"/>
          </a:xfrm>
          <a:scene3d>
            <a:camera prst="orthographicFront">
              <a:rot lat="0" lon="0" rev="0"/>
            </a:camera>
            <a:lightRig rig="contrasting" dir="t">
              <a:rot lat="0" lon="0" rev="1200000"/>
            </a:lightRig>
          </a:scene3d>
        </p:grpSpPr>
        <p:sp>
          <p:nvSpPr>
            <p:cNvPr id="12" name="Rettangolo 11"/>
            <p:cNvSpPr/>
            <p:nvPr/>
          </p:nvSpPr>
          <p:spPr>
            <a:xfrm>
              <a:off x="1308" y="27903"/>
              <a:ext cx="2302947" cy="764184"/>
            </a:xfrm>
            <a:prstGeom prst="rect">
              <a:avLst/>
            </a:prstGeom>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3" name="Rettangolo 12"/>
            <p:cNvSpPr/>
            <p:nvPr/>
          </p:nvSpPr>
          <p:spPr>
            <a:xfrm>
              <a:off x="1308" y="27903"/>
              <a:ext cx="2302947" cy="76418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3305" tIns="63305" rIns="63305" bIns="63305" numCol="1" spcCol="1270" anchor="ctr" anchorCtr="0">
              <a:noAutofit/>
            </a:bodyPr>
            <a:lstStyle/>
            <a:p>
              <a:pPr algn="ctr" defTabSz="738572">
                <a:lnSpc>
                  <a:spcPct val="90000"/>
                </a:lnSpc>
                <a:spcBef>
                  <a:spcPct val="0"/>
                </a:spcBef>
                <a:spcAft>
                  <a:spcPct val="35000"/>
                </a:spcAft>
              </a:pPr>
              <a:r>
                <a:rPr lang="it-IT" sz="1662" dirty="0"/>
                <a:t>A distanza</a:t>
              </a:r>
            </a:p>
          </p:txBody>
        </p:sp>
      </p:grpSp>
      <p:grpSp>
        <p:nvGrpSpPr>
          <p:cNvPr id="14" name="Gruppo 13"/>
          <p:cNvGrpSpPr/>
          <p:nvPr/>
        </p:nvGrpSpPr>
        <p:grpSpPr>
          <a:xfrm>
            <a:off x="1913244" y="1966684"/>
            <a:ext cx="2125797" cy="705401"/>
            <a:chOff x="1308" y="27903"/>
            <a:chExt cx="2302947" cy="764184"/>
          </a:xfrm>
          <a:scene3d>
            <a:camera prst="orthographicFront">
              <a:rot lat="0" lon="0" rev="0"/>
            </a:camera>
            <a:lightRig rig="contrasting" dir="t">
              <a:rot lat="0" lon="0" rev="1200000"/>
            </a:lightRig>
          </a:scene3d>
        </p:grpSpPr>
        <p:sp>
          <p:nvSpPr>
            <p:cNvPr id="15" name="Rettangolo 14"/>
            <p:cNvSpPr/>
            <p:nvPr/>
          </p:nvSpPr>
          <p:spPr>
            <a:xfrm>
              <a:off x="1308" y="27903"/>
              <a:ext cx="2302947" cy="764184"/>
            </a:xfrm>
            <a:prstGeom prst="rect">
              <a:avLst/>
            </a:prstGeom>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6" name="Rettangolo 15"/>
            <p:cNvSpPr/>
            <p:nvPr/>
          </p:nvSpPr>
          <p:spPr>
            <a:xfrm>
              <a:off x="1308" y="27903"/>
              <a:ext cx="2302947" cy="76418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3305" tIns="63305" rIns="63305" bIns="63305" numCol="1" spcCol="1270" anchor="ctr" anchorCtr="0">
              <a:noAutofit/>
            </a:bodyPr>
            <a:lstStyle/>
            <a:p>
              <a:pPr algn="ctr" defTabSz="738572">
                <a:lnSpc>
                  <a:spcPct val="90000"/>
                </a:lnSpc>
                <a:spcBef>
                  <a:spcPct val="0"/>
                </a:spcBef>
                <a:spcAft>
                  <a:spcPct val="35000"/>
                </a:spcAft>
              </a:pPr>
              <a:r>
                <a:rPr lang="it-IT" sz="1662" dirty="0"/>
                <a:t>In presenza</a:t>
              </a:r>
            </a:p>
            <a:p>
              <a:pPr algn="ctr" defTabSz="738572">
                <a:lnSpc>
                  <a:spcPct val="90000"/>
                </a:lnSpc>
                <a:spcBef>
                  <a:spcPct val="0"/>
                </a:spcBef>
                <a:spcAft>
                  <a:spcPct val="35000"/>
                </a:spcAft>
              </a:pPr>
              <a:r>
                <a:rPr lang="it-IT" sz="1662" dirty="0"/>
                <a:t>29-30 maggio 2014</a:t>
              </a:r>
            </a:p>
          </p:txBody>
        </p:sp>
      </p:grpSp>
      <p:pic>
        <p:nvPicPr>
          <p:cNvPr id="17" name="Immagine 1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363695" y="3960751"/>
            <a:ext cx="1428135" cy="930565"/>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18" name="Freccia a sinistra 17"/>
          <p:cNvSpPr/>
          <p:nvPr/>
        </p:nvSpPr>
        <p:spPr bwMode="auto">
          <a:xfrm>
            <a:off x="6898412" y="4492503"/>
            <a:ext cx="398814" cy="398814"/>
          </a:xfrm>
          <a:prstGeom prst="leftArrow">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endParaRPr lang="it-IT" sz="2031">
              <a:solidFill>
                <a:schemeClr val="bg1"/>
              </a:solidFill>
              <a:latin typeface="Arial" charset="0"/>
            </a:endParaRPr>
          </a:p>
        </p:txBody>
      </p:sp>
      <p:sp>
        <p:nvSpPr>
          <p:cNvPr id="19" name="Rettangolo 18"/>
          <p:cNvSpPr/>
          <p:nvPr/>
        </p:nvSpPr>
        <p:spPr>
          <a:xfrm>
            <a:off x="7297226" y="3561939"/>
            <a:ext cx="1594046" cy="341006"/>
          </a:xfrm>
          <a:prstGeom prst="rect">
            <a:avLst/>
          </a:prstGeom>
          <a:noFill/>
        </p:spPr>
        <p:txBody>
          <a:bodyPr wrap="square" lIns="84406" tIns="42203" rIns="84406" bIns="42203">
            <a:spAutoFit/>
          </a:bodyPr>
          <a:lstStyle/>
          <a:p>
            <a:pPr algn="ctr"/>
            <a:r>
              <a:rPr lang="it-IT" sz="1662"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Innovatori PA</a:t>
            </a:r>
          </a:p>
        </p:txBody>
      </p:sp>
    </p:spTree>
    <p:extLst>
      <p:ext uri="{BB962C8B-B14F-4D97-AF65-F5344CB8AC3E}">
        <p14:creationId xmlns:p14="http://schemas.microsoft.com/office/powerpoint/2010/main" val="14315142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1"/>
          <p:cNvSpPr txBox="1">
            <a:spLocks/>
          </p:cNvSpPr>
          <p:nvPr/>
        </p:nvSpPr>
        <p:spPr bwMode="auto">
          <a:xfrm>
            <a:off x="467544" y="836712"/>
            <a:ext cx="7769469" cy="663819"/>
          </a:xfrm>
          <a:prstGeom prst="rect">
            <a:avLst/>
          </a:prstGeom>
          <a:noFill/>
          <a:ln w="9525">
            <a:noFill/>
            <a:miter lim="800000"/>
            <a:headEnd/>
            <a:tailEnd/>
          </a:ln>
          <a:effectLst/>
        </p:spPr>
        <p:txBody>
          <a:bodyPr lIns="0" tIns="33231" rIns="0" bIns="0"/>
          <a:lstStyle>
            <a:defPPr lvl="0">
              <a:buSzPct val="45000"/>
              <a:buFont typeface="StarSymbol"/>
              <a:buNone/>
              <a:defRPr/>
            </a:defPPr>
            <a:lvl1pPr lvl="0"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mj-lt"/>
                <a:ea typeface="+mj-ea"/>
                <a:cs typeface="+mj-cs"/>
              </a:defRPr>
            </a:lvl1pPr>
            <a:lvl2pPr lvl="1"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2pPr>
            <a:lvl3pPr lvl="2"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3pPr>
            <a:lvl4pPr lvl="3"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4pPr>
            <a:lvl5pPr lvl="4"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5pPr>
            <a:lvl6pPr marL="457200" lvl="5"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6pPr>
            <a:lvl7pPr marL="914400" lvl="6"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7pPr>
            <a:lvl8pPr marL="1371600" lvl="7"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8pPr>
            <a:lvl9pPr marL="1828800" lvl="8"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9pPr>
          </a:lstStyle>
          <a:p>
            <a:pPr lvl="0">
              <a:buNone/>
            </a:pPr>
            <a:r>
              <a:rPr lang="it-IT" sz="2800" dirty="0">
                <a:solidFill>
                  <a:schemeClr val="accent1">
                    <a:lumMod val="75000"/>
                  </a:schemeClr>
                </a:solidFill>
              </a:rPr>
              <a:t>Modalità di lavoro </a:t>
            </a:r>
            <a:r>
              <a:rPr lang="it-IT" sz="2800" dirty="0" smtClean="0">
                <a:solidFill>
                  <a:schemeClr val="accent1">
                    <a:lumMod val="75000"/>
                  </a:schemeClr>
                </a:solidFill>
              </a:rPr>
              <a:t>(2)</a:t>
            </a:r>
            <a:endParaRPr lang="it-IT" sz="2800" dirty="0">
              <a:solidFill>
                <a:schemeClr val="accent1">
                  <a:lumMod val="75000"/>
                </a:schemeClr>
              </a:solidFill>
            </a:endParaRPr>
          </a:p>
        </p:txBody>
      </p:sp>
      <p:graphicFrame>
        <p:nvGraphicFramePr>
          <p:cNvPr id="4" name="Segnaposto contenuto 4"/>
          <p:cNvGraphicFramePr>
            <a:graphicFrameLocks/>
          </p:cNvGraphicFramePr>
          <p:nvPr/>
        </p:nvGraphicFramePr>
        <p:xfrm>
          <a:off x="1184709" y="1567870"/>
          <a:ext cx="7574833" cy="729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uppo 4"/>
          <p:cNvGrpSpPr/>
          <p:nvPr/>
        </p:nvGrpSpPr>
        <p:grpSpPr>
          <a:xfrm>
            <a:off x="52113" y="1687374"/>
            <a:ext cx="1661723" cy="4533320"/>
            <a:chOff x="0" y="0"/>
            <a:chExt cx="1942318" cy="4911097"/>
          </a:xfrm>
          <a:scene3d>
            <a:camera prst="orthographicFront"/>
            <a:lightRig rig="flat" dir="t"/>
          </a:scene3d>
        </p:grpSpPr>
        <p:sp>
          <p:nvSpPr>
            <p:cNvPr id="6" name="Rettangolo arrotondato 5"/>
            <p:cNvSpPr/>
            <p:nvPr/>
          </p:nvSpPr>
          <p:spPr>
            <a:xfrm>
              <a:off x="0" y="0"/>
              <a:ext cx="1942318" cy="4911097"/>
            </a:xfrm>
            <a:prstGeom prst="roundRect">
              <a:avLst/>
            </a:prstGeom>
            <a:sp3d prstMaterial="plastic">
              <a:bevelT w="120900" h="88900"/>
              <a:bevelB w="88900" h="31750" prst="angle"/>
            </a:sp3d>
          </p:spPr>
          <p:style>
            <a:lnRef idx="0">
              <a:schemeClr val="lt1">
                <a:hueOff val="0"/>
                <a:satOff val="0"/>
                <a:lumOff val="0"/>
                <a:alphaOff val="0"/>
              </a:schemeClr>
            </a:lnRef>
            <a:fillRef idx="3">
              <a:schemeClr val="accent2">
                <a:alpha val="90000"/>
                <a:hueOff val="0"/>
                <a:satOff val="0"/>
                <a:lumOff val="0"/>
                <a:alphaOff val="0"/>
              </a:schemeClr>
            </a:fillRef>
            <a:effectRef idx="2">
              <a:schemeClr val="accent2">
                <a:alpha val="90000"/>
                <a:hueOff val="0"/>
                <a:satOff val="0"/>
                <a:lumOff val="0"/>
                <a:alphaOff val="0"/>
              </a:schemeClr>
            </a:effectRef>
            <a:fontRef idx="minor">
              <a:schemeClr val="lt1"/>
            </a:fontRef>
          </p:style>
        </p:sp>
        <p:sp>
          <p:nvSpPr>
            <p:cNvPr id="7" name="Rettangolo 6"/>
            <p:cNvSpPr/>
            <p:nvPr/>
          </p:nvSpPr>
          <p:spPr>
            <a:xfrm>
              <a:off x="94816" y="94816"/>
              <a:ext cx="1752686" cy="472146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84406" tIns="42203" rIns="84406" bIns="42203" numCol="1" spcCol="1270" anchor="ctr" anchorCtr="0">
              <a:noAutofit/>
            </a:bodyPr>
            <a:lstStyle/>
            <a:p>
              <a:pPr algn="ctr" defTabSz="984763">
                <a:lnSpc>
                  <a:spcPct val="90000"/>
                </a:lnSpc>
                <a:spcBef>
                  <a:spcPct val="0"/>
                </a:spcBef>
                <a:spcAft>
                  <a:spcPct val="35000"/>
                </a:spcAft>
              </a:pPr>
              <a:r>
                <a:rPr lang="it-IT" sz="2215" b="1" dirty="0"/>
                <a:t>TAVOLI TEMATICI</a:t>
              </a:r>
            </a:p>
          </p:txBody>
        </p:sp>
      </p:grpSp>
      <p:graphicFrame>
        <p:nvGraphicFramePr>
          <p:cNvPr id="8" name="Tabella 7"/>
          <p:cNvGraphicFramePr>
            <a:graphicFrameLocks noGrp="1"/>
          </p:cNvGraphicFramePr>
          <p:nvPr/>
        </p:nvGraphicFramePr>
        <p:xfrm>
          <a:off x="2710870" y="1633622"/>
          <a:ext cx="5121761" cy="4500166"/>
        </p:xfrm>
        <a:graphic>
          <a:graphicData uri="http://schemas.openxmlformats.org/drawingml/2006/table">
            <a:tbl>
              <a:tblPr/>
              <a:tblGrid>
                <a:gridCol w="1520061"/>
                <a:gridCol w="2132309"/>
                <a:gridCol w="348347"/>
                <a:gridCol w="253343"/>
                <a:gridCol w="392682"/>
                <a:gridCol w="475019"/>
              </a:tblGrid>
              <a:tr h="277758">
                <a:tc gridSpan="6">
                  <a:txBody>
                    <a:bodyPr/>
                    <a:lstStyle/>
                    <a:p>
                      <a:pPr algn="ctr" fontAlgn="b"/>
                      <a:r>
                        <a:rPr lang="it-IT" sz="1700" b="1" i="0" u="none" strike="noStrike">
                          <a:solidFill>
                            <a:srgbClr val="FFFFFF"/>
                          </a:solidFill>
                          <a:effectLst/>
                          <a:latin typeface="Arial" panose="020B0604020202020204" pitchFamily="34" charset="0"/>
                        </a:rPr>
                        <a:t>PIANO DI LAVORO TAVOLO TEMATICO</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r>
              <a:tr h="218660">
                <a:tc>
                  <a:txBody>
                    <a:bodyPr/>
                    <a:lstStyle/>
                    <a:p>
                      <a:pPr algn="l" fontAlgn="b"/>
                      <a:endParaRPr lang="it-IT" sz="1400" b="1"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660">
                <a:tc>
                  <a:txBody>
                    <a:bodyPr/>
                    <a:lstStyle/>
                    <a:p>
                      <a:pPr algn="ctr" fontAlgn="b"/>
                      <a:r>
                        <a:rPr lang="it-IT" sz="1100" b="1" i="0" u="none" strike="noStrike">
                          <a:solidFill>
                            <a:srgbClr val="FFFFFF"/>
                          </a:solidFill>
                          <a:effectLst/>
                          <a:latin typeface="Arial" panose="020B0604020202020204" pitchFamily="34" charset="0"/>
                        </a:rPr>
                        <a:t>Ambito tematico</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tc gridSpan="5">
                  <a:txBody>
                    <a:bodyPr/>
                    <a:lstStyle/>
                    <a:p>
                      <a:pPr algn="ctr" fontAlgn="b"/>
                      <a:r>
                        <a:rPr lang="it-IT" sz="800" b="0" i="0" u="none" strike="noStrike">
                          <a:solidFill>
                            <a:srgbClr val="000000"/>
                          </a:solidFill>
                          <a:effectLst/>
                          <a:latin typeface="Calibri" panose="020F050202020403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r>
              <a:tr h="166950">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7758">
                <a:tc rowSpan="2">
                  <a:txBody>
                    <a:bodyPr/>
                    <a:lstStyle/>
                    <a:p>
                      <a:pPr algn="ctr" fontAlgn="b"/>
                      <a:r>
                        <a:rPr lang="it-IT" sz="1100" b="1" i="0" u="none" strike="noStrike">
                          <a:solidFill>
                            <a:srgbClr val="FFFFFF"/>
                          </a:solidFill>
                          <a:effectLst/>
                          <a:latin typeface="Arial" panose="020B0604020202020204" pitchFamily="34" charset="0"/>
                        </a:rPr>
                        <a:t>Tema di approfondimento</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rowSpan="2">
                  <a:txBody>
                    <a:bodyPr/>
                    <a:lstStyle/>
                    <a:p>
                      <a:pPr algn="ctr" fontAlgn="b"/>
                      <a:r>
                        <a:rPr lang="it-IT" sz="1100" b="1" i="0" u="none" strike="noStrike">
                          <a:solidFill>
                            <a:srgbClr val="FFFFFF"/>
                          </a:solidFill>
                          <a:effectLst/>
                          <a:latin typeface="Arial" panose="020B0604020202020204" pitchFamily="34" charset="0"/>
                        </a:rPr>
                        <a:t>Questioni specifiche</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gridSpan="4">
                  <a:txBody>
                    <a:bodyPr/>
                    <a:lstStyle/>
                    <a:p>
                      <a:pPr algn="ctr" fontAlgn="b"/>
                      <a:r>
                        <a:rPr lang="it-IT" sz="1100" b="1" i="0" u="none" strike="noStrike">
                          <a:solidFill>
                            <a:srgbClr val="FFFFFF"/>
                          </a:solidFill>
                          <a:effectLst/>
                          <a:latin typeface="Arial" panose="020B0604020202020204" pitchFamily="34" charset="0"/>
                        </a:rPr>
                        <a:t>Contributi laboratorio</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hMerge="1">
                  <a:txBody>
                    <a:bodyPr/>
                    <a:lstStyle/>
                    <a:p>
                      <a:endParaRPr lang="it-IT"/>
                    </a:p>
                  </a:txBody>
                  <a:tcPr/>
                </a:tc>
                <a:tc hMerge="1">
                  <a:txBody>
                    <a:bodyPr/>
                    <a:lstStyle/>
                    <a:p>
                      <a:endParaRPr lang="it-IT"/>
                    </a:p>
                  </a:txBody>
                  <a:tcPr/>
                </a:tc>
                <a:tc hMerge="1">
                  <a:txBody>
                    <a:bodyPr/>
                    <a:lstStyle/>
                    <a:p>
                      <a:endParaRPr lang="it-IT"/>
                    </a:p>
                  </a:txBody>
                  <a:tcPr/>
                </a:tc>
              </a:tr>
              <a:tr h="343534">
                <a:tc vMerge="1">
                  <a:txBody>
                    <a:bodyPr/>
                    <a:lstStyle/>
                    <a:p>
                      <a:endParaRPr lang="it-IT"/>
                    </a:p>
                  </a:txBody>
                  <a:tcPr/>
                </a:tc>
                <a:tc vMerge="1">
                  <a:txBody>
                    <a:bodyPr/>
                    <a:lstStyle/>
                    <a:p>
                      <a:endParaRPr lang="it-IT"/>
                    </a:p>
                  </a:txBody>
                  <a:tcPr/>
                </a:tc>
                <a:tc>
                  <a:txBody>
                    <a:bodyPr/>
                    <a:lstStyle/>
                    <a:p>
                      <a:pPr algn="ctr" fontAlgn="b"/>
                      <a:r>
                        <a:rPr lang="it-IT" sz="1100" b="1" i="0" u="none" strike="noStrike">
                          <a:solidFill>
                            <a:srgbClr val="FFFFFF"/>
                          </a:solidFill>
                          <a:effectLst/>
                          <a:latin typeface="Arial" panose="020B0604020202020204" pitchFamily="34" charset="0"/>
                        </a:rPr>
                        <a:t>Cosa</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algn="ctr" fontAlgn="b"/>
                      <a:r>
                        <a:rPr lang="it-IT" sz="1100" b="1" i="0" u="none" strike="noStrike">
                          <a:solidFill>
                            <a:srgbClr val="FFFFFF"/>
                          </a:solidFill>
                          <a:effectLst/>
                          <a:latin typeface="Arial" panose="020B0604020202020204" pitchFamily="34" charset="0"/>
                        </a:rPr>
                        <a:t>Chi</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algn="ctr" fontAlgn="b"/>
                      <a:r>
                        <a:rPr lang="it-IT" sz="1100" b="1" i="0" u="none" strike="noStrike">
                          <a:solidFill>
                            <a:srgbClr val="FFFFFF"/>
                          </a:solidFill>
                          <a:effectLst/>
                          <a:latin typeface="Arial" panose="020B0604020202020204" pitchFamily="34" charset="0"/>
                        </a:rPr>
                        <a:t>Come</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algn="ctr" fontAlgn="b"/>
                      <a:r>
                        <a:rPr lang="it-IT" sz="1100" b="1" i="0" u="none" strike="noStrike">
                          <a:solidFill>
                            <a:srgbClr val="FFFFFF"/>
                          </a:solidFill>
                          <a:effectLst/>
                          <a:latin typeface="Arial" panose="020B0604020202020204" pitchFamily="34" charset="0"/>
                        </a:rPr>
                        <a:t>Entro il</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r>
              <a:tr h="141834">
                <a:tc>
                  <a:txBody>
                    <a:bodyPr/>
                    <a:lstStyle/>
                    <a:p>
                      <a:pPr algn="l" fontAlgn="b"/>
                      <a:r>
                        <a:rPr lang="it-IT" sz="800" b="0" i="0" u="none" strike="noStrike">
                          <a:solidFill>
                            <a:srgbClr val="000000"/>
                          </a:solidFill>
                          <a:effectLst/>
                          <a:latin typeface="Arial" panose="020B0604020202020204" pitchFamily="34" charset="0"/>
                        </a:rPr>
                        <a:t>1. Sistema produttivo</a:t>
                      </a:r>
                    </a:p>
                  </a:txBody>
                  <a:tcPr marL="5910" marR="5910" marT="591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1.1 Quali sono i punti di forza?</a:t>
                      </a:r>
                    </a:p>
                  </a:txBody>
                  <a:tcPr marL="5910" marR="5910" marT="591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r>
              <a:tr h="141834">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700" b="0" i="1" u="none" strike="noStrike">
                          <a:solidFill>
                            <a:srgbClr val="000000"/>
                          </a:solidFill>
                          <a:effectLst/>
                          <a:latin typeface="Arial" panose="020B0604020202020204" pitchFamily="34" charset="0"/>
                        </a:rPr>
                        <a:t>1.2 Quali sono i punti di debolezza?</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834">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1.3 Quali sono i vantaggi competitivi?</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r>
              <a:tr h="141834">
                <a:tc>
                  <a:txBody>
                    <a:bodyPr/>
                    <a:lstStyle/>
                    <a:p>
                      <a:pPr algn="l" fontAlgn="b"/>
                      <a:r>
                        <a:rPr lang="it-IT" sz="800" b="0" i="0" u="none" strike="noStrike">
                          <a:solidFill>
                            <a:srgbClr val="000000"/>
                          </a:solidFill>
                          <a:effectLst/>
                          <a:latin typeface="Arial" panose="020B0604020202020204" pitchFamily="34" charset="0"/>
                        </a:rPr>
                        <a:t>2. Sistema  della conoscenza</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700" b="0" i="1" u="none" strike="noStrike">
                          <a:solidFill>
                            <a:srgbClr val="000000"/>
                          </a:solidFill>
                          <a:effectLst/>
                          <a:latin typeface="Arial" panose="020B0604020202020204" pitchFamily="34" charset="0"/>
                        </a:rPr>
                        <a:t>2.1. Chi sono gli attori pubblici e privati?</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a:noFill/>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5938">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2.2 Quali  sono le competenze scientifiche attivate?</a:t>
                      </a:r>
                    </a:p>
                  </a:txBody>
                  <a:tcPr marL="5910" marR="5910" marT="5910" marB="0" anchor="b">
                    <a:lnL>
                      <a:noFill/>
                    </a:lnL>
                    <a:lnR w="12700" cap="flat" cmpd="sng" algn="ctr">
                      <a:solidFill>
                        <a:srgbClr val="000000"/>
                      </a:solidFill>
                      <a:prstDash val="solid"/>
                      <a:round/>
                      <a:headEnd type="none" w="med" len="med"/>
                      <a:tailEnd type="none" w="med" len="med"/>
                    </a:lnR>
                    <a:lnT>
                      <a:noFill/>
                    </a:lnT>
                    <a:lnB>
                      <a:noFill/>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r>
              <a:tr h="265938">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700" b="0" i="1" u="none" strike="noStrike">
                          <a:solidFill>
                            <a:srgbClr val="000000"/>
                          </a:solidFill>
                          <a:effectLst/>
                          <a:latin typeface="Arial" panose="020B0604020202020204" pitchFamily="34" charset="0"/>
                        </a:rPr>
                        <a:t>2.3 Quali sono gli ambiti di sviluppo tecnologico più importanti?</a:t>
                      </a:r>
                    </a:p>
                  </a:txBody>
                  <a:tcPr marL="5910" marR="5910" marT="5910" marB="0" anchor="b">
                    <a:lnL>
                      <a:noFill/>
                    </a:lnL>
                    <a:lnR w="12700" cap="flat" cmpd="sng" algn="ctr">
                      <a:solidFill>
                        <a:srgbClr val="000000"/>
                      </a:solidFill>
                      <a:prstDash val="solid"/>
                      <a:round/>
                      <a:headEnd type="none" w="med" len="med"/>
                      <a:tailEnd type="none" w="med" len="med"/>
                    </a:lnR>
                    <a:lnT>
                      <a:noFill/>
                    </a:lnT>
                    <a:lnB w="6350" cap="flat" cmpd="sng" algn="ctr">
                      <a:solidFill>
                        <a:srgbClr val="9BC2E6"/>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5938">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2.4 Quali sono le linee di innovazione  e ricerca più promettenti?</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r>
              <a:tr h="265938">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700" b="0" i="1" u="none" strike="noStrike">
                          <a:solidFill>
                            <a:srgbClr val="000000"/>
                          </a:solidFill>
                          <a:effectLst/>
                          <a:latin typeface="Arial" panose="020B0604020202020204" pitchFamily="34" charset="0"/>
                        </a:rPr>
                        <a:t>2.5 Chi e come è presente nelle reti extra-regionali?</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5938">
                <a:tc>
                  <a:txBody>
                    <a:bodyPr/>
                    <a:lstStyle/>
                    <a:p>
                      <a:pPr algn="l" fontAlgn="b"/>
                      <a:r>
                        <a:rPr lang="it-IT" sz="800" b="0" i="0" u="none" strike="noStrike">
                          <a:solidFill>
                            <a:srgbClr val="000000"/>
                          </a:solidFill>
                          <a:effectLst/>
                          <a:latin typeface="Arial" panose="020B0604020202020204" pitchFamily="34" charset="0"/>
                        </a:rPr>
                        <a:t>3. Indicazioni di priorità</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3.1 A quali  esigenze/sfide del territorio rispondono ?</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r>
              <a:tr h="265938">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700" b="0" i="1" u="none" strike="noStrike">
                          <a:solidFill>
                            <a:srgbClr val="000000"/>
                          </a:solidFill>
                          <a:effectLst/>
                          <a:latin typeface="Arial" panose="020B0604020202020204" pitchFamily="34" charset="0"/>
                        </a:rPr>
                        <a:t> 3.2 Quali sono i/le segmenti/nicchie di attività più promettenti per il futuro?</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5938">
                <a:tc>
                  <a:txBody>
                    <a:bodyPr/>
                    <a:lstStyle/>
                    <a:p>
                      <a:pPr algn="l" fontAlgn="b"/>
                      <a:r>
                        <a:rPr lang="it-IT" sz="800" b="0" i="0" u="none" strike="noStrike">
                          <a:solidFill>
                            <a:srgbClr val="000000"/>
                          </a:solidFill>
                          <a:effectLst/>
                          <a:latin typeface="Arial" panose="020B0604020202020204" pitchFamily="34" charset="0"/>
                        </a:rPr>
                        <a:t>4. Il contributo delle KET</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a:noFill/>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4.1 L'incidenza delle KET (Micro  elettronica, biotecnologie e ICT) ?</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r>
              <a:tr h="283667">
                <a:tc>
                  <a:txBody>
                    <a:bodyPr/>
                    <a:lstStyle/>
                    <a:p>
                      <a:pPr algn="l" fontAlgn="b"/>
                      <a:r>
                        <a:rPr lang="it-IT" sz="800" b="0" i="0" u="none" strike="noStrike">
                          <a:solidFill>
                            <a:srgbClr val="000000"/>
                          </a:solidFill>
                          <a:effectLst/>
                          <a:latin typeface="Calibri" panose="020F0502020204030204" pitchFamily="34" charset="0"/>
                        </a:rPr>
                        <a:t>5. Il potenziale ruolo dell'innovazione sociale</a:t>
                      </a:r>
                    </a:p>
                  </a:txBody>
                  <a:tcPr marL="5910" marR="5910" marT="5910" marB="0" anchor="b">
                    <a:lnL w="12700" cap="flat" cmpd="sng" algn="ctr">
                      <a:solidFill>
                        <a:srgbClr val="000000"/>
                      </a:solidFill>
                      <a:prstDash val="solid"/>
                      <a:round/>
                      <a:headEnd type="none" w="med" len="med"/>
                      <a:tailEnd type="none" w="med" len="med"/>
                    </a:lnL>
                    <a:lnR>
                      <a:noFill/>
                    </a:lnR>
                    <a:lnT>
                      <a:noFill/>
                    </a:lnT>
                    <a:lnB w="6350" cap="flat" cmpd="sng" algn="ctr">
                      <a:solidFill>
                        <a:srgbClr val="9BC2E6"/>
                      </a:solidFill>
                      <a:prstDash val="solid"/>
                      <a:round/>
                      <a:headEnd type="none" w="med" len="med"/>
                      <a:tailEnd type="none" w="med" len="med"/>
                    </a:lnB>
                  </a:tcPr>
                </a:tc>
                <a:tc>
                  <a:txBody>
                    <a:bodyPr/>
                    <a:lstStyle/>
                    <a:p>
                      <a:pPr algn="l" fontAlgn="b"/>
                      <a:r>
                        <a:rPr lang="it-IT" sz="700" b="0" i="1" u="none" strike="noStrike">
                          <a:solidFill>
                            <a:srgbClr val="000000"/>
                          </a:solidFill>
                          <a:effectLst/>
                          <a:latin typeface="Arial" panose="020B0604020202020204" pitchFamily="34" charset="0"/>
                        </a:rPr>
                        <a:t>5.1 C'è un possibile ruolo per l'innovazione sociale? Se si, quale?</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3667">
                <a:tc>
                  <a:txBody>
                    <a:bodyPr/>
                    <a:lstStyle/>
                    <a:p>
                      <a:pPr algn="l" fontAlgn="b"/>
                      <a:r>
                        <a:rPr lang="it-IT" sz="800" b="0" i="0" u="none" strike="noStrike">
                          <a:solidFill>
                            <a:srgbClr val="000000"/>
                          </a:solidFill>
                          <a:effectLst/>
                          <a:latin typeface="Arial" panose="020B0604020202020204" pitchFamily="34" charset="0"/>
                        </a:rPr>
                        <a:t>6. Le intersezioni con altri ambiti tematici</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6.1  Sono rilevate intersezioni con altri ambiti tecnologici e produttivi.Quali?</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dirty="0">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r>
            </a:tbl>
          </a:graphicData>
        </a:graphic>
      </p:graphicFrame>
      <p:graphicFrame>
        <p:nvGraphicFramePr>
          <p:cNvPr id="2" name="Diagramma 1"/>
          <p:cNvGraphicFramePr/>
          <p:nvPr>
            <p:extLst/>
          </p:nvPr>
        </p:nvGraphicFramePr>
        <p:xfrm>
          <a:off x="583865" y="1900215"/>
          <a:ext cx="9046471" cy="508957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85651943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ma 6"/>
          <p:cNvGraphicFramePr/>
          <p:nvPr>
            <p:extLst>
              <p:ext uri="{D42A27DB-BD31-4B8C-83A1-F6EECF244321}">
                <p14:modId xmlns:p14="http://schemas.microsoft.com/office/powerpoint/2010/main" val="1005411627"/>
              </p:ext>
            </p:extLst>
          </p:nvPr>
        </p:nvGraphicFramePr>
        <p:xfrm>
          <a:off x="1115616" y="764704"/>
          <a:ext cx="7272808"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1" name="Diagramma 10"/>
          <p:cNvGraphicFramePr/>
          <p:nvPr>
            <p:extLst>
              <p:ext uri="{D42A27DB-BD31-4B8C-83A1-F6EECF244321}">
                <p14:modId xmlns:p14="http://schemas.microsoft.com/office/powerpoint/2010/main" val="534735153"/>
              </p:ext>
            </p:extLst>
          </p:nvPr>
        </p:nvGraphicFramePr>
        <p:xfrm>
          <a:off x="107504" y="1484784"/>
          <a:ext cx="8928992" cy="49685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45829504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ma 6"/>
          <p:cNvGraphicFramePr/>
          <p:nvPr>
            <p:extLst>
              <p:ext uri="{D42A27DB-BD31-4B8C-83A1-F6EECF244321}">
                <p14:modId xmlns:p14="http://schemas.microsoft.com/office/powerpoint/2010/main" val="930471524"/>
              </p:ext>
            </p:extLst>
          </p:nvPr>
        </p:nvGraphicFramePr>
        <p:xfrm>
          <a:off x="1115616" y="764704"/>
          <a:ext cx="7272808"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1" name="Diagramma 10"/>
          <p:cNvGraphicFramePr/>
          <p:nvPr>
            <p:extLst>
              <p:ext uri="{D42A27DB-BD31-4B8C-83A1-F6EECF244321}">
                <p14:modId xmlns:p14="http://schemas.microsoft.com/office/powerpoint/2010/main" val="641702458"/>
              </p:ext>
            </p:extLst>
          </p:nvPr>
        </p:nvGraphicFramePr>
        <p:xfrm>
          <a:off x="107504" y="1484784"/>
          <a:ext cx="8928992" cy="49685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6160050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la 1"/>
          <p:cNvGraphicFramePr>
            <a:graphicFrameLocks noGrp="1"/>
          </p:cNvGraphicFramePr>
          <p:nvPr>
            <p:extLst>
              <p:ext uri="{D42A27DB-BD31-4B8C-83A1-F6EECF244321}">
                <p14:modId xmlns:p14="http://schemas.microsoft.com/office/powerpoint/2010/main" val="3039638464"/>
              </p:ext>
            </p:extLst>
          </p:nvPr>
        </p:nvGraphicFramePr>
        <p:xfrm>
          <a:off x="1115616" y="1700808"/>
          <a:ext cx="7200800" cy="3665830"/>
        </p:xfrm>
        <a:graphic>
          <a:graphicData uri="http://schemas.openxmlformats.org/drawingml/2006/table">
            <a:tbl>
              <a:tblPr>
                <a:tableStyleId>{5FD0F851-EC5A-4D38-B0AD-8093EC10F338}</a:tableStyleId>
              </a:tblPr>
              <a:tblGrid>
                <a:gridCol w="1045072"/>
                <a:gridCol w="974975"/>
                <a:gridCol w="5180753"/>
              </a:tblGrid>
              <a:tr h="366583">
                <a:tc>
                  <a:txBody>
                    <a:bodyPr/>
                    <a:lstStyle/>
                    <a:p>
                      <a:pPr algn="ctr" fontAlgn="b"/>
                      <a:r>
                        <a:rPr lang="it-IT" sz="1600" b="1" i="0" u="none" strike="noStrike" dirty="0" smtClean="0">
                          <a:solidFill>
                            <a:schemeClr val="accent1">
                              <a:lumMod val="75000"/>
                            </a:schemeClr>
                          </a:solidFill>
                          <a:effectLst/>
                          <a:latin typeface="Calibri"/>
                        </a:rPr>
                        <a:t>9.30</a:t>
                      </a:r>
                      <a:endParaRPr lang="it-IT" sz="1600" b="1" i="0" u="none" strike="noStrike" dirty="0">
                        <a:solidFill>
                          <a:schemeClr val="accent1">
                            <a:lumMod val="75000"/>
                          </a:schemeClr>
                        </a:solidFill>
                        <a:effectLst/>
                        <a:latin typeface="Calibri"/>
                      </a:endParaRPr>
                    </a:p>
                  </a:txBody>
                  <a:tcPr marL="9525" marR="9525" marT="9525" marB="0" anchor="b">
                    <a:solidFill>
                      <a:schemeClr val="accent1">
                        <a:lumMod val="20000"/>
                        <a:lumOff val="80000"/>
                      </a:schemeClr>
                    </a:solidFill>
                  </a:tcPr>
                </a:tc>
                <a:tc>
                  <a:txBody>
                    <a:bodyPr/>
                    <a:lstStyle/>
                    <a:p>
                      <a:pPr algn="ctr" fontAlgn="b"/>
                      <a:r>
                        <a:rPr lang="it-IT" sz="1600" b="1" i="0" u="none" strike="noStrike" dirty="0" smtClean="0">
                          <a:solidFill>
                            <a:schemeClr val="accent1">
                              <a:lumMod val="75000"/>
                            </a:schemeClr>
                          </a:solidFill>
                          <a:effectLst/>
                          <a:latin typeface="Calibri"/>
                        </a:rPr>
                        <a:t>9.45</a:t>
                      </a:r>
                      <a:endParaRPr lang="it-IT" sz="1600" b="1" i="0" u="none" strike="noStrike" dirty="0">
                        <a:solidFill>
                          <a:schemeClr val="accent1">
                            <a:lumMod val="75000"/>
                          </a:schemeClr>
                        </a:solidFill>
                        <a:effectLst/>
                        <a:latin typeface="Calibri"/>
                      </a:endParaRPr>
                    </a:p>
                  </a:txBody>
                  <a:tcPr marL="9525" marR="9525" marT="9525" marB="0" anchor="b">
                    <a:solidFill>
                      <a:schemeClr val="accent1">
                        <a:lumMod val="20000"/>
                        <a:lumOff val="80000"/>
                      </a:schemeClr>
                    </a:solidFill>
                  </a:tcPr>
                </a:tc>
                <a:tc>
                  <a:txBody>
                    <a:bodyPr/>
                    <a:lstStyle/>
                    <a:p>
                      <a:pPr algn="ctr" fontAlgn="b"/>
                      <a:r>
                        <a:rPr lang="it-IT" sz="1600" b="1" u="none" strike="noStrike" dirty="0">
                          <a:solidFill>
                            <a:schemeClr val="accent1">
                              <a:lumMod val="75000"/>
                            </a:schemeClr>
                          </a:solidFill>
                          <a:effectLst/>
                        </a:rPr>
                        <a:t>Introduzione lavori</a:t>
                      </a:r>
                      <a:endParaRPr lang="it-IT" sz="1600" b="1" i="0" u="none" strike="noStrike" dirty="0">
                        <a:solidFill>
                          <a:schemeClr val="accent1">
                            <a:lumMod val="75000"/>
                          </a:schemeClr>
                        </a:solidFill>
                        <a:effectLst/>
                        <a:latin typeface="Calibri"/>
                      </a:endParaRPr>
                    </a:p>
                  </a:txBody>
                  <a:tcPr marL="9525" marR="9525" marT="9525" marB="0" anchor="b">
                    <a:solidFill>
                      <a:schemeClr val="accent1">
                        <a:lumMod val="20000"/>
                        <a:lumOff val="80000"/>
                      </a:schemeClr>
                    </a:solidFill>
                  </a:tcPr>
                </a:tc>
              </a:tr>
              <a:tr h="366583">
                <a:tc rowSpan="4" gridSpan="2">
                  <a:txBody>
                    <a:bodyPr/>
                    <a:lstStyle/>
                    <a:p>
                      <a:pPr algn="ctr" fontAlgn="t"/>
                      <a:r>
                        <a:rPr lang="it-IT" sz="1600" b="1" u="none" strike="noStrike" dirty="0" smtClean="0">
                          <a:solidFill>
                            <a:schemeClr val="accent1">
                              <a:lumMod val="75000"/>
                            </a:schemeClr>
                          </a:solidFill>
                          <a:effectLst/>
                        </a:rPr>
                        <a:t> </a:t>
                      </a:r>
                    </a:p>
                    <a:p>
                      <a:pPr algn="ctr" fontAlgn="t"/>
                      <a:r>
                        <a:rPr lang="it-IT" sz="1400" b="1" u="none" strike="noStrike" kern="1200" dirty="0" smtClean="0">
                          <a:solidFill>
                            <a:schemeClr val="accent1">
                              <a:lumMod val="75000"/>
                            </a:schemeClr>
                          </a:solidFill>
                          <a:effectLst/>
                          <a:latin typeface="+mn-lt"/>
                          <a:ea typeface="+mn-ea"/>
                          <a:cs typeface="+mn-cs"/>
                        </a:rPr>
                        <a:t>Emanuele Villa</a:t>
                      </a:r>
                      <a:endParaRPr lang="it-IT" sz="800" b="1" u="none" strike="noStrike" dirty="0" smtClean="0">
                        <a:solidFill>
                          <a:schemeClr val="accent1">
                            <a:lumMod val="75000"/>
                          </a:schemeClr>
                        </a:solidFill>
                        <a:effectLst/>
                      </a:endParaRPr>
                    </a:p>
                    <a:p>
                      <a:pPr algn="ctr" fontAlgn="t"/>
                      <a:r>
                        <a:rPr lang="it-IT" sz="1600" b="1" i="1" u="none" strike="noStrike" dirty="0" smtClean="0">
                          <a:solidFill>
                            <a:schemeClr val="accent1">
                              <a:lumMod val="75000"/>
                            </a:schemeClr>
                          </a:solidFill>
                          <a:effectLst/>
                        </a:rPr>
                        <a:t> </a:t>
                      </a:r>
                      <a:r>
                        <a:rPr lang="it-IT" sz="1400" b="1" i="1" u="none" strike="noStrike" dirty="0" smtClean="0">
                          <a:solidFill>
                            <a:schemeClr val="accent1">
                              <a:lumMod val="75000"/>
                            </a:schemeClr>
                          </a:solidFill>
                          <a:effectLst/>
                        </a:rPr>
                        <a:t>Regione Siciliana</a:t>
                      </a:r>
                      <a:endParaRPr lang="it-IT" sz="1400" b="1" i="1" u="none" strike="noStrike" dirty="0">
                        <a:solidFill>
                          <a:schemeClr val="accent1">
                            <a:lumMod val="75000"/>
                          </a:schemeClr>
                        </a:solidFill>
                        <a:effectLst/>
                        <a:latin typeface="Calibri"/>
                      </a:endParaRPr>
                    </a:p>
                  </a:txBody>
                  <a:tcPr marL="9525" marR="9525" marT="9525" marB="0"/>
                </a:tc>
                <a:tc rowSpan="4" hMerge="1">
                  <a:txBody>
                    <a:bodyPr/>
                    <a:lstStyle/>
                    <a:p>
                      <a:endParaRPr lang="it-IT"/>
                    </a:p>
                  </a:txBody>
                  <a:tcPr/>
                </a:tc>
                <a:tc>
                  <a:txBody>
                    <a:bodyPr/>
                    <a:lstStyle/>
                    <a:p>
                      <a:pPr algn="ctr" fontAlgn="b"/>
                      <a:r>
                        <a:rPr lang="it-IT" sz="1400" b="1" u="none" strike="noStrike" dirty="0">
                          <a:solidFill>
                            <a:schemeClr val="accent1">
                              <a:lumMod val="75000"/>
                            </a:schemeClr>
                          </a:solidFill>
                          <a:effectLst/>
                        </a:rPr>
                        <a:t>Chi siamo</a:t>
                      </a:r>
                      <a:endParaRPr lang="it-IT" sz="1400" b="1" i="1" u="none" strike="noStrike" dirty="0">
                        <a:solidFill>
                          <a:schemeClr val="accent1">
                            <a:lumMod val="75000"/>
                          </a:schemeClr>
                        </a:solidFill>
                        <a:effectLst/>
                        <a:latin typeface="Calibri"/>
                      </a:endParaRPr>
                    </a:p>
                  </a:txBody>
                  <a:tcPr marL="9525" marR="9525" marT="9525" marB="0" anchor="b"/>
                </a:tc>
              </a:tr>
              <a:tr h="366583">
                <a:tc gridSpan="2" vMerge="1">
                  <a:txBody>
                    <a:bodyPr/>
                    <a:lstStyle/>
                    <a:p>
                      <a:endParaRPr lang="it-IT"/>
                    </a:p>
                  </a:txBody>
                  <a:tcPr/>
                </a:tc>
                <a:tc hMerge="1" vMerge="1">
                  <a:txBody>
                    <a:bodyPr/>
                    <a:lstStyle/>
                    <a:p>
                      <a:endParaRPr lang="it-IT"/>
                    </a:p>
                  </a:txBody>
                  <a:tcPr/>
                </a:tc>
                <a:tc>
                  <a:txBody>
                    <a:bodyPr/>
                    <a:lstStyle/>
                    <a:p>
                      <a:pPr algn="ctr" fontAlgn="b"/>
                      <a:r>
                        <a:rPr lang="it-IT" sz="1400" b="1" u="none" strike="noStrike" dirty="0">
                          <a:solidFill>
                            <a:schemeClr val="accent1">
                              <a:lumMod val="75000"/>
                            </a:schemeClr>
                          </a:solidFill>
                          <a:effectLst/>
                        </a:rPr>
                        <a:t>Perché siamo qui</a:t>
                      </a:r>
                      <a:endParaRPr lang="it-IT" sz="1400" b="1" i="1" u="none" strike="noStrike" dirty="0">
                        <a:solidFill>
                          <a:schemeClr val="accent1">
                            <a:lumMod val="75000"/>
                          </a:schemeClr>
                        </a:solidFill>
                        <a:effectLst/>
                        <a:latin typeface="Calibri"/>
                      </a:endParaRPr>
                    </a:p>
                  </a:txBody>
                  <a:tcPr marL="9525" marR="9525" marT="9525" marB="0" anchor="b"/>
                </a:tc>
              </a:tr>
              <a:tr h="366583">
                <a:tc gridSpan="2" vMerge="1">
                  <a:txBody>
                    <a:bodyPr/>
                    <a:lstStyle/>
                    <a:p>
                      <a:endParaRPr lang="it-IT"/>
                    </a:p>
                  </a:txBody>
                  <a:tcPr/>
                </a:tc>
                <a:tc hMerge="1" vMerge="1">
                  <a:txBody>
                    <a:bodyPr/>
                    <a:lstStyle/>
                    <a:p>
                      <a:endParaRPr lang="it-IT"/>
                    </a:p>
                  </a:txBody>
                  <a:tcPr/>
                </a:tc>
                <a:tc>
                  <a:txBody>
                    <a:bodyPr/>
                    <a:lstStyle/>
                    <a:p>
                      <a:pPr algn="ctr" fontAlgn="b"/>
                      <a:r>
                        <a:rPr lang="it-IT" sz="1400" b="1" u="none" strike="noStrike" dirty="0">
                          <a:solidFill>
                            <a:schemeClr val="accent1">
                              <a:lumMod val="75000"/>
                            </a:schemeClr>
                          </a:solidFill>
                          <a:effectLst/>
                        </a:rPr>
                        <a:t>Cosa dobbiamo fare</a:t>
                      </a:r>
                      <a:endParaRPr lang="it-IT" sz="1400" b="1" i="1" u="none" strike="noStrike" dirty="0">
                        <a:solidFill>
                          <a:schemeClr val="accent1">
                            <a:lumMod val="75000"/>
                          </a:schemeClr>
                        </a:solidFill>
                        <a:effectLst/>
                        <a:latin typeface="Calibri"/>
                      </a:endParaRPr>
                    </a:p>
                  </a:txBody>
                  <a:tcPr marL="9525" marR="9525" marT="9525" marB="0" anchor="b"/>
                </a:tc>
              </a:tr>
              <a:tr h="366583">
                <a:tc gridSpan="2" vMerge="1">
                  <a:txBody>
                    <a:bodyPr/>
                    <a:lstStyle/>
                    <a:p>
                      <a:endParaRPr lang="it-IT"/>
                    </a:p>
                  </a:txBody>
                  <a:tcPr/>
                </a:tc>
                <a:tc hMerge="1" vMerge="1">
                  <a:txBody>
                    <a:bodyPr/>
                    <a:lstStyle/>
                    <a:p>
                      <a:endParaRPr lang="it-IT"/>
                    </a:p>
                  </a:txBody>
                  <a:tcPr/>
                </a:tc>
                <a:tc>
                  <a:txBody>
                    <a:bodyPr/>
                    <a:lstStyle/>
                    <a:p>
                      <a:pPr algn="ctr" fontAlgn="b"/>
                      <a:r>
                        <a:rPr lang="it-IT" sz="1400" b="1" u="none" strike="noStrike" dirty="0">
                          <a:solidFill>
                            <a:schemeClr val="accent1">
                              <a:lumMod val="75000"/>
                            </a:schemeClr>
                          </a:solidFill>
                          <a:effectLst/>
                        </a:rPr>
                        <a:t>Modalità di lavoro</a:t>
                      </a:r>
                      <a:endParaRPr lang="it-IT" sz="1400" b="1" i="1" u="none" strike="noStrike" dirty="0">
                        <a:solidFill>
                          <a:schemeClr val="accent1">
                            <a:lumMod val="75000"/>
                          </a:schemeClr>
                        </a:solidFill>
                        <a:effectLst/>
                        <a:latin typeface="Calibri"/>
                      </a:endParaRPr>
                    </a:p>
                  </a:txBody>
                  <a:tcPr marL="9525" marR="9525" marT="9525" marB="0" anchor="b"/>
                </a:tc>
              </a:tr>
              <a:tr h="366583">
                <a:tc>
                  <a:txBody>
                    <a:bodyPr/>
                    <a:lstStyle/>
                    <a:p>
                      <a:pPr marL="0" algn="ctr" defTabSz="914400" rtl="0" eaLnBrk="1" fontAlgn="b" latinLnBrk="0" hangingPunct="1"/>
                      <a:r>
                        <a:rPr lang="it-IT" sz="1600" b="1" u="none" strike="noStrike" kern="1200" dirty="0" smtClean="0">
                          <a:solidFill>
                            <a:schemeClr val="accent1">
                              <a:lumMod val="75000"/>
                            </a:schemeClr>
                          </a:solidFill>
                          <a:effectLst/>
                          <a:latin typeface="+mn-lt"/>
                          <a:ea typeface="+mn-ea"/>
                          <a:cs typeface="+mn-cs"/>
                        </a:rPr>
                        <a:t>9.45</a:t>
                      </a:r>
                      <a:endParaRPr lang="it-IT" sz="1600" b="1" u="none" strike="noStrike" kern="1200" dirty="0">
                        <a:solidFill>
                          <a:schemeClr val="accent1">
                            <a:lumMod val="75000"/>
                          </a:schemeClr>
                        </a:solidFill>
                        <a:effectLst/>
                        <a:latin typeface="+mn-lt"/>
                        <a:ea typeface="+mn-ea"/>
                        <a:cs typeface="+mn-cs"/>
                      </a:endParaRPr>
                    </a:p>
                  </a:txBody>
                  <a:tcPr marL="9525" marR="9525" marT="9525" marB="0" anchor="b">
                    <a:solidFill>
                      <a:schemeClr val="accent1">
                        <a:lumMod val="20000"/>
                        <a:lumOff val="80000"/>
                      </a:schemeClr>
                    </a:solidFill>
                  </a:tcPr>
                </a:tc>
                <a:tc>
                  <a:txBody>
                    <a:bodyPr/>
                    <a:lstStyle/>
                    <a:p>
                      <a:pPr marL="0" algn="ctr" defTabSz="914400" rtl="0" eaLnBrk="1" fontAlgn="b" latinLnBrk="0" hangingPunct="1"/>
                      <a:r>
                        <a:rPr lang="it-IT" sz="1600" b="1" u="none" strike="noStrike" kern="1200" dirty="0" smtClean="0">
                          <a:solidFill>
                            <a:schemeClr val="accent1">
                              <a:lumMod val="75000"/>
                            </a:schemeClr>
                          </a:solidFill>
                          <a:effectLst/>
                          <a:latin typeface="+mn-lt"/>
                          <a:ea typeface="+mn-ea"/>
                          <a:cs typeface="+mn-cs"/>
                        </a:rPr>
                        <a:t>10.00</a:t>
                      </a:r>
                      <a:endParaRPr lang="it-IT" sz="1600" b="1" u="none" strike="noStrike" kern="1200" dirty="0">
                        <a:solidFill>
                          <a:schemeClr val="accent1">
                            <a:lumMod val="75000"/>
                          </a:schemeClr>
                        </a:solidFill>
                        <a:effectLst/>
                        <a:latin typeface="+mn-lt"/>
                        <a:ea typeface="+mn-ea"/>
                        <a:cs typeface="+mn-cs"/>
                      </a:endParaRPr>
                    </a:p>
                  </a:txBody>
                  <a:tcPr marL="9525" marR="9525" marT="9525" marB="0" anchor="b">
                    <a:solidFill>
                      <a:schemeClr val="accent1">
                        <a:lumMod val="20000"/>
                        <a:lumOff val="80000"/>
                      </a:schemeClr>
                    </a:solidFill>
                  </a:tcPr>
                </a:tc>
                <a:tc>
                  <a:txBody>
                    <a:bodyPr/>
                    <a:lstStyle/>
                    <a:p>
                      <a:pPr marL="0" algn="ctr" defTabSz="914400" rtl="0" eaLnBrk="1" fontAlgn="b" latinLnBrk="0" hangingPunct="1"/>
                      <a:r>
                        <a:rPr lang="it-IT" sz="1600" b="1" u="none" strike="noStrike" kern="1200" dirty="0">
                          <a:solidFill>
                            <a:schemeClr val="accent1">
                              <a:lumMod val="75000"/>
                            </a:schemeClr>
                          </a:solidFill>
                          <a:effectLst/>
                        </a:rPr>
                        <a:t>A che punto è la definizione della RIS 3 Sicilia</a:t>
                      </a:r>
                      <a:endParaRPr lang="it-IT" sz="1600" b="1" u="none" strike="noStrike" kern="1200" dirty="0">
                        <a:solidFill>
                          <a:schemeClr val="accent1">
                            <a:lumMod val="75000"/>
                          </a:schemeClr>
                        </a:solidFill>
                        <a:effectLst/>
                        <a:latin typeface="+mn-lt"/>
                        <a:ea typeface="+mn-ea"/>
                        <a:cs typeface="+mn-cs"/>
                      </a:endParaRPr>
                    </a:p>
                  </a:txBody>
                  <a:tcPr marL="9525" marR="9525" marT="9525" marB="0" anchor="b">
                    <a:solidFill>
                      <a:schemeClr val="accent1">
                        <a:lumMod val="20000"/>
                        <a:lumOff val="80000"/>
                      </a:schemeClr>
                    </a:solidFill>
                  </a:tcPr>
                </a:tc>
              </a:tr>
              <a:tr h="366583">
                <a:tc rowSpan="3" gridSpan="2">
                  <a:txBody>
                    <a:bodyPr/>
                    <a:lstStyle/>
                    <a:p>
                      <a:pPr algn="ctr" fontAlgn="t"/>
                      <a:endParaRPr lang="it-IT" sz="1600" b="1" u="none" strike="noStrike" dirty="0" smtClean="0">
                        <a:solidFill>
                          <a:schemeClr val="accent1">
                            <a:lumMod val="75000"/>
                          </a:schemeClr>
                        </a:solidFill>
                        <a:effectLst/>
                      </a:endParaRPr>
                    </a:p>
                    <a:p>
                      <a:pPr marL="0" algn="ctr" defTabSz="914400" rtl="0" eaLnBrk="1" fontAlgn="t" latinLnBrk="0" hangingPunct="1"/>
                      <a:r>
                        <a:rPr lang="it-IT" sz="1400" b="1" u="none" strike="noStrike" kern="1200" dirty="0" smtClean="0">
                          <a:solidFill>
                            <a:schemeClr val="accent1">
                              <a:lumMod val="75000"/>
                            </a:schemeClr>
                          </a:solidFill>
                          <a:effectLst/>
                          <a:latin typeface="+mn-lt"/>
                          <a:ea typeface="+mn-ea"/>
                          <a:cs typeface="+mn-cs"/>
                        </a:rPr>
                        <a:t>Emanuele Villa</a:t>
                      </a:r>
                    </a:p>
                    <a:p>
                      <a:pPr marL="0" algn="ctr" defTabSz="914400" rtl="0" eaLnBrk="1" fontAlgn="t" latinLnBrk="0" hangingPunct="1"/>
                      <a:r>
                        <a:rPr lang="it-IT" sz="1400" b="1" u="none" strike="noStrike" kern="1200" dirty="0" smtClean="0">
                          <a:solidFill>
                            <a:schemeClr val="accent1">
                              <a:lumMod val="75000"/>
                            </a:schemeClr>
                          </a:solidFill>
                          <a:effectLst/>
                          <a:latin typeface="+mn-lt"/>
                          <a:ea typeface="+mn-ea"/>
                          <a:cs typeface="+mn-cs"/>
                        </a:rPr>
                        <a:t> </a:t>
                      </a:r>
                      <a:r>
                        <a:rPr lang="it-IT" sz="1400" b="1" i="1" u="none" strike="noStrike" kern="1200" dirty="0" smtClean="0">
                          <a:solidFill>
                            <a:schemeClr val="accent1">
                              <a:lumMod val="75000"/>
                            </a:schemeClr>
                          </a:solidFill>
                          <a:effectLst/>
                          <a:latin typeface="+mn-lt"/>
                          <a:ea typeface="+mn-ea"/>
                          <a:cs typeface="+mn-cs"/>
                        </a:rPr>
                        <a:t>Regione Siciliana</a:t>
                      </a:r>
                      <a:endParaRPr lang="it-IT" sz="1400" b="1" i="1" u="none" strike="noStrike" kern="1200" dirty="0">
                        <a:solidFill>
                          <a:schemeClr val="accent1">
                            <a:lumMod val="75000"/>
                          </a:schemeClr>
                        </a:solidFill>
                        <a:effectLst/>
                        <a:latin typeface="+mn-lt"/>
                        <a:ea typeface="+mn-ea"/>
                        <a:cs typeface="+mn-cs"/>
                      </a:endParaRPr>
                    </a:p>
                  </a:txBody>
                  <a:tcPr marL="9525" marR="9525" marT="9525" marB="0"/>
                </a:tc>
                <a:tc rowSpan="3" hMerge="1">
                  <a:txBody>
                    <a:bodyPr/>
                    <a:lstStyle/>
                    <a:p>
                      <a:endParaRPr lang="it-IT"/>
                    </a:p>
                  </a:txBody>
                  <a:tcPr/>
                </a:tc>
                <a:tc>
                  <a:txBody>
                    <a:bodyPr/>
                    <a:lstStyle/>
                    <a:p>
                      <a:pPr marL="0" algn="ctr" defTabSz="914400" rtl="0" eaLnBrk="1" fontAlgn="b" latinLnBrk="0" hangingPunct="1"/>
                      <a:r>
                        <a:rPr lang="it-IT" sz="1400" b="1" u="none" strike="noStrike" kern="1200" dirty="0">
                          <a:solidFill>
                            <a:schemeClr val="accent1">
                              <a:lumMod val="75000"/>
                            </a:schemeClr>
                          </a:solidFill>
                          <a:effectLst/>
                          <a:latin typeface="+mn-lt"/>
                          <a:ea typeface="+mn-ea"/>
                          <a:cs typeface="+mn-cs"/>
                        </a:rPr>
                        <a:t>Percorso svolto</a:t>
                      </a:r>
                    </a:p>
                  </a:txBody>
                  <a:tcPr marL="9525" marR="9525" marT="9525" marB="0" anchor="b"/>
                </a:tc>
              </a:tr>
              <a:tr h="366583">
                <a:tc gridSpan="2" vMerge="1">
                  <a:txBody>
                    <a:bodyPr/>
                    <a:lstStyle/>
                    <a:p>
                      <a:endParaRPr lang="it-IT"/>
                    </a:p>
                  </a:txBody>
                  <a:tcPr/>
                </a:tc>
                <a:tc hMerge="1" vMerge="1">
                  <a:txBody>
                    <a:bodyPr/>
                    <a:lstStyle/>
                    <a:p>
                      <a:endParaRPr lang="it-IT"/>
                    </a:p>
                  </a:txBody>
                  <a:tcPr/>
                </a:tc>
                <a:tc>
                  <a:txBody>
                    <a:bodyPr/>
                    <a:lstStyle/>
                    <a:p>
                      <a:pPr marL="0" algn="ctr" defTabSz="914400" rtl="0" eaLnBrk="1" fontAlgn="b" latinLnBrk="0" hangingPunct="1"/>
                      <a:r>
                        <a:rPr lang="it-IT" sz="1400" b="1" u="none" strike="noStrike" kern="1200" dirty="0">
                          <a:solidFill>
                            <a:schemeClr val="accent1">
                              <a:lumMod val="75000"/>
                            </a:schemeClr>
                          </a:solidFill>
                          <a:effectLst/>
                          <a:latin typeface="+mn-lt"/>
                          <a:ea typeface="+mn-ea"/>
                          <a:cs typeface="+mn-cs"/>
                        </a:rPr>
                        <a:t>Prossime tappe</a:t>
                      </a:r>
                    </a:p>
                  </a:txBody>
                  <a:tcPr marL="9525" marR="9525" marT="9525" marB="0" anchor="b"/>
                </a:tc>
              </a:tr>
              <a:tr h="366583">
                <a:tc gridSpan="2" vMerge="1">
                  <a:txBody>
                    <a:bodyPr/>
                    <a:lstStyle/>
                    <a:p>
                      <a:endParaRPr lang="it-IT"/>
                    </a:p>
                  </a:txBody>
                  <a:tcPr/>
                </a:tc>
                <a:tc hMerge="1" vMerge="1">
                  <a:txBody>
                    <a:bodyPr/>
                    <a:lstStyle/>
                    <a:p>
                      <a:endParaRPr lang="it-IT"/>
                    </a:p>
                  </a:txBody>
                  <a:tcPr/>
                </a:tc>
                <a:tc>
                  <a:txBody>
                    <a:bodyPr/>
                    <a:lstStyle/>
                    <a:p>
                      <a:pPr marL="0" algn="ctr" defTabSz="914400" rtl="0" eaLnBrk="1" fontAlgn="b" latinLnBrk="0" hangingPunct="1"/>
                      <a:r>
                        <a:rPr lang="it-IT" sz="1400" b="1" u="none" strike="noStrike" kern="1200" dirty="0">
                          <a:solidFill>
                            <a:schemeClr val="accent1">
                              <a:lumMod val="75000"/>
                            </a:schemeClr>
                          </a:solidFill>
                          <a:effectLst/>
                          <a:latin typeface="+mn-lt"/>
                          <a:ea typeface="+mn-ea"/>
                          <a:cs typeface="+mn-cs"/>
                        </a:rPr>
                        <a:t>Vision, selezione priorità e policy mix</a:t>
                      </a:r>
                    </a:p>
                  </a:txBody>
                  <a:tcPr marL="9525" marR="9525" marT="9525" marB="0" anchor="b"/>
                </a:tc>
              </a:tr>
              <a:tr h="366583">
                <a:tc>
                  <a:txBody>
                    <a:bodyPr/>
                    <a:lstStyle/>
                    <a:p>
                      <a:pPr algn="ctr" fontAlgn="b"/>
                      <a:r>
                        <a:rPr lang="it-IT" sz="1600" b="1" i="0" u="none" strike="noStrike" dirty="0" smtClean="0">
                          <a:solidFill>
                            <a:schemeClr val="accent1">
                              <a:lumMod val="75000"/>
                            </a:schemeClr>
                          </a:solidFill>
                          <a:effectLst/>
                          <a:latin typeface="Calibri"/>
                        </a:rPr>
                        <a:t>10.00</a:t>
                      </a:r>
                      <a:endParaRPr lang="it-IT" sz="1600" b="1" i="0" u="none" strike="noStrike" dirty="0">
                        <a:solidFill>
                          <a:schemeClr val="accent1">
                            <a:lumMod val="75000"/>
                          </a:schemeClr>
                        </a:solidFill>
                        <a:effectLst/>
                        <a:latin typeface="Calibri"/>
                      </a:endParaRPr>
                    </a:p>
                  </a:txBody>
                  <a:tcPr marL="9525" marR="9525" marT="9525" marB="0" anchor="b">
                    <a:solidFill>
                      <a:schemeClr val="accent1">
                        <a:lumMod val="20000"/>
                        <a:lumOff val="80000"/>
                      </a:schemeClr>
                    </a:solidFill>
                  </a:tcPr>
                </a:tc>
                <a:tc>
                  <a:txBody>
                    <a:bodyPr/>
                    <a:lstStyle/>
                    <a:p>
                      <a:pPr algn="ctr" fontAlgn="b"/>
                      <a:r>
                        <a:rPr lang="it-IT" sz="1600" b="1" i="0" u="none" strike="noStrike" dirty="0" smtClean="0">
                          <a:solidFill>
                            <a:schemeClr val="accent1">
                              <a:lumMod val="75000"/>
                            </a:schemeClr>
                          </a:solidFill>
                          <a:effectLst/>
                          <a:latin typeface="Calibri"/>
                        </a:rPr>
                        <a:t>10.20</a:t>
                      </a:r>
                      <a:endParaRPr lang="it-IT" sz="1600" b="1" i="0" u="none" strike="noStrike" dirty="0">
                        <a:solidFill>
                          <a:schemeClr val="accent1">
                            <a:lumMod val="75000"/>
                          </a:schemeClr>
                        </a:solidFill>
                        <a:effectLst/>
                        <a:latin typeface="Calibri"/>
                      </a:endParaRPr>
                    </a:p>
                  </a:txBody>
                  <a:tcPr marL="9525" marR="9525" marT="9525" marB="0" anchor="b">
                    <a:solidFill>
                      <a:schemeClr val="accent1">
                        <a:lumMod val="20000"/>
                        <a:lumOff val="80000"/>
                      </a:schemeClr>
                    </a:solidFill>
                  </a:tcPr>
                </a:tc>
                <a:tc>
                  <a:txBody>
                    <a:bodyPr/>
                    <a:lstStyle/>
                    <a:p>
                      <a:pPr algn="ctr" fontAlgn="b"/>
                      <a:r>
                        <a:rPr lang="it-IT" sz="1600" b="1" u="none" strike="noStrike" dirty="0">
                          <a:solidFill>
                            <a:schemeClr val="accent1">
                              <a:lumMod val="75000"/>
                            </a:schemeClr>
                          </a:solidFill>
                          <a:effectLst/>
                        </a:rPr>
                        <a:t>Interventi di confronto / condivisione </a:t>
                      </a:r>
                      <a:endParaRPr lang="it-IT" sz="1600" b="1" i="0" u="none" strike="noStrike" dirty="0">
                        <a:solidFill>
                          <a:schemeClr val="accent1">
                            <a:lumMod val="75000"/>
                          </a:schemeClr>
                        </a:solidFill>
                        <a:effectLst/>
                        <a:latin typeface="Calibri"/>
                      </a:endParaRPr>
                    </a:p>
                  </a:txBody>
                  <a:tcPr marL="9525" marR="9525" marT="9525" marB="0" anchor="b">
                    <a:solidFill>
                      <a:schemeClr val="accent1">
                        <a:lumMod val="20000"/>
                        <a:lumOff val="80000"/>
                      </a:schemeClr>
                    </a:solidFill>
                  </a:tcPr>
                </a:tc>
              </a:tr>
            </a:tbl>
          </a:graphicData>
        </a:graphic>
      </p:graphicFrame>
      <p:graphicFrame>
        <p:nvGraphicFramePr>
          <p:cNvPr id="7" name="Diagramma 6"/>
          <p:cNvGraphicFramePr/>
          <p:nvPr>
            <p:extLst/>
          </p:nvPr>
        </p:nvGraphicFramePr>
        <p:xfrm>
          <a:off x="1115616" y="1340768"/>
          <a:ext cx="7272808" cy="3693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997188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31</TotalTime>
  <Words>4895</Words>
  <Application>Microsoft Office PowerPoint</Application>
  <PresentationFormat>Presentazione su schermo (4:3)</PresentationFormat>
  <Paragraphs>551</Paragraphs>
  <Slides>42</Slides>
  <Notes>7</Notes>
  <HiddenSlides>0</HiddenSlides>
  <MMClips>0</MMClips>
  <ScaleCrop>false</ScaleCrop>
  <HeadingPairs>
    <vt:vector size="6" baseType="variant">
      <vt:variant>
        <vt:lpstr>Tema</vt:lpstr>
      </vt:variant>
      <vt:variant>
        <vt:i4>1</vt:i4>
      </vt:variant>
      <vt:variant>
        <vt:lpstr>Server OLE incorporati</vt:lpstr>
      </vt:variant>
      <vt:variant>
        <vt:i4>1</vt:i4>
      </vt:variant>
      <vt:variant>
        <vt:lpstr>Titoli diapositive</vt:lpstr>
      </vt:variant>
      <vt:variant>
        <vt:i4>42</vt:i4>
      </vt:variant>
    </vt:vector>
  </HeadingPairs>
  <TitlesOfParts>
    <vt:vector size="44" baseType="lpstr">
      <vt:lpstr>Tema di Office</vt:lpstr>
      <vt:lpstr>think-cell Slid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  A che punto è la definizione della RIS 3 Sicilia: prossime tappe Azioni previste e risultati attesi nei prossimi mesi  (aprile-dicembre 2014) </vt:lpstr>
      <vt:lpstr>La RIS 3 Sicilia ha avviato un processo per valorizzare  il potenziale individuato attraverso:</vt:lpstr>
      <vt:lpstr>Obiettivi</vt:lpstr>
      <vt:lpstr>Presentazione standard di PowerPoint</vt:lpstr>
      <vt:lpstr>Il perseguimento dei tre obiettivi verrà effettuato mediante un approccio logico duale  </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 3 Passi per Partecipare</vt:lpstr>
      <vt:lpstr> 3 Passi per Partecipare</vt:lpstr>
      <vt:lpstr> Partecipa</vt:lpstr>
      <vt:lpstr> 3 Passi per Partecipare</vt:lpstr>
      <vt:lpstr> 3 Passi per Partecipare</vt:lpstr>
      <vt:lpstr> Partecipa</vt:lpstr>
    </vt:vector>
  </TitlesOfParts>
  <Company>Hewlett-Packar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User</dc:creator>
  <cp:lastModifiedBy>User</cp:lastModifiedBy>
  <cp:revision>35</cp:revision>
  <dcterms:created xsi:type="dcterms:W3CDTF">2014-05-07T09:53:03Z</dcterms:created>
  <dcterms:modified xsi:type="dcterms:W3CDTF">2014-05-10T07:13:01Z</dcterms:modified>
</cp:coreProperties>
</file>